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287" r:id="rId5"/>
  </p:sldIdLst>
  <p:sldSz cx="12192000" cy="6858000"/>
  <p:notesSz cx="7010400" cy="9296400"/>
  <p:embeddedFontLst>
    <p:embeddedFont>
      <p:font typeface="Arial Narrow" panose="020B0606020202030204" pitchFamily="34" charset="0"/>
      <p:regular r:id="rId8"/>
      <p:bold r:id="rId9"/>
      <p:italic r:id="rId10"/>
      <p:boldItalic r:id="rId11"/>
    </p:embeddedFont>
    <p:embeddedFont>
      <p:font typeface="PTCRaleway" panose="020B0604020202020204" charset="0"/>
      <p:regular r:id="rId12"/>
      <p:bold r:id="rId13"/>
      <p:italic r:id="rId14"/>
      <p:boldItalic r:id="rId15"/>
    </p:embeddedFont>
    <p:embeddedFont>
      <p:font typeface="PTCRaleway Black" panose="020B0604020202020204" charset="0"/>
      <p:bold r:id="rId16"/>
      <p:boldItalic r:id="rId17"/>
    </p:embeddedFont>
  </p:embeddedFontLst>
  <p:defaultTextStyle>
    <a:defPPr>
      <a:defRPr lang="en-US"/>
    </a:defPPr>
    <a:lvl1pPr marL="0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1pPr>
    <a:lvl2pPr marL="54338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2pPr>
    <a:lvl3pPr marL="1086775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3pPr>
    <a:lvl4pPr marL="163016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4pPr>
    <a:lvl5pPr marL="2173551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5pPr>
    <a:lvl6pPr marL="271693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6pPr>
    <a:lvl7pPr marL="3260326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7pPr>
    <a:lvl8pPr marL="380371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8pPr>
    <a:lvl9pPr marL="4347102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8" orient="horz" pos="888" userDrawn="1">
          <p15:clr>
            <a:srgbClr val="A4A3A4"/>
          </p15:clr>
        </p15:guide>
        <p15:guide id="23" orient="horz" pos="600" userDrawn="1">
          <p15:clr>
            <a:srgbClr val="A4A3A4"/>
          </p15:clr>
        </p15:guide>
        <p15:guide id="26" pos="312" userDrawn="1">
          <p15:clr>
            <a:srgbClr val="A4A3A4"/>
          </p15:clr>
        </p15:guide>
        <p15:guide id="27" pos="7416" userDrawn="1">
          <p15:clr>
            <a:srgbClr val="A4A3A4"/>
          </p15:clr>
        </p15:guide>
        <p15:guide id="28" orient="horz" pos="4152" userDrawn="1">
          <p15:clr>
            <a:srgbClr val="A4A3A4"/>
          </p15:clr>
        </p15:guide>
        <p15:guide id="29" orient="horz" pos="1176" userDrawn="1">
          <p15:clr>
            <a:srgbClr val="A4A3A4"/>
          </p15:clr>
        </p15:guide>
        <p15:guide id="30" orient="horz" pos="134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cCagg, Marty" initials="MM" lastIdx="9" clrIdx="0">
    <p:extLst>
      <p:ext uri="{19B8F6BF-5375-455C-9EA6-DF929625EA0E}">
        <p15:presenceInfo xmlns:p15="http://schemas.microsoft.com/office/powerpoint/2012/main" userId="S::mmccagg@ptc.com::c2c447df-6635-47d9-b22f-40274ed5ccf9" providerId="AD"/>
      </p:ext>
    </p:extLst>
  </p:cmAuthor>
  <p:cmAuthor id="2" name="Author" initials="A" lastIdx="189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AEA"/>
    <a:srgbClr val="BFBFBF"/>
    <a:srgbClr val="4D585A"/>
    <a:srgbClr val="FFFFFF"/>
    <a:srgbClr val="3D4647"/>
    <a:srgbClr val="AA9103"/>
    <a:srgbClr val="12581A"/>
    <a:srgbClr val="3C4647"/>
    <a:srgbClr val="C8C9C7"/>
    <a:srgbClr val="FCB5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0AB4D30-48C4-4682-BFF1-114A65A1ABB8}" v="27" dt="2022-07-27T15:30:35.79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988" autoAdjust="0"/>
    <p:restoredTop sz="94987" autoAdjust="0"/>
  </p:normalViewPr>
  <p:slideViewPr>
    <p:cSldViewPr snapToGrid="0" snapToObjects="1">
      <p:cViewPr varScale="1">
        <p:scale>
          <a:sx n="82" d="100"/>
          <a:sy n="82" d="100"/>
        </p:scale>
        <p:origin x="902" y="58"/>
      </p:cViewPr>
      <p:guideLst>
        <p:guide orient="horz" pos="888"/>
        <p:guide orient="horz" pos="600"/>
        <p:guide pos="312"/>
        <p:guide pos="7416"/>
        <p:guide orient="horz" pos="4152"/>
        <p:guide orient="horz" pos="1176"/>
        <p:guide orient="horz" pos="13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-29"/>
    </p:cViewPr>
  </p:notesTextViewPr>
  <p:sorterViewPr>
    <p:cViewPr varScale="1">
      <p:scale>
        <a:sx n="1" d="1"/>
        <a:sy n="1" d="1"/>
      </p:scale>
      <p:origin x="0" y="-12582"/>
    </p:cViewPr>
  </p:sorterViewPr>
  <p:notesViewPr>
    <p:cSldViewPr snapToGrid="0" snapToObjects="1">
      <p:cViewPr varScale="1">
        <p:scale>
          <a:sx n="83" d="100"/>
          <a:sy n="83" d="100"/>
        </p:scale>
        <p:origin x="3810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font" Target="fonts/font6.fntdata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handoutMaster" Target="handoutMasters/handoutMaster1.xml"/><Relationship Id="rId12" Type="http://schemas.openxmlformats.org/officeDocument/2006/relationships/font" Target="fonts/font5.fntdata"/><Relationship Id="rId17" Type="http://schemas.openxmlformats.org/officeDocument/2006/relationships/font" Target="fonts/font10.fntdata"/><Relationship Id="rId2" Type="http://schemas.openxmlformats.org/officeDocument/2006/relationships/customXml" Target="../customXml/item2.xml"/><Relationship Id="rId16" Type="http://schemas.openxmlformats.org/officeDocument/2006/relationships/font" Target="fonts/font9.fntdata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font" Target="fonts/font4.fntdata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font" Target="fonts/font8.fntdata"/><Relationship Id="rId23" Type="http://schemas.microsoft.com/office/2016/11/relationships/changesInfo" Target="changesInfos/changesInfo1.xml"/><Relationship Id="rId10" Type="http://schemas.openxmlformats.org/officeDocument/2006/relationships/font" Target="fonts/font3.fntdata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font" Target="fonts/font2.fntdata"/><Relationship Id="rId14" Type="http://schemas.openxmlformats.org/officeDocument/2006/relationships/font" Target="fonts/font7.fntdata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aether, Jerry" userId="14db987c-f35f-4c71-8653-84d365bd3bb9" providerId="ADAL" clId="{90AB4D30-48C4-4682-BFF1-114A65A1ABB8}"/>
    <pc:docChg chg="custSel delSld modSld">
      <pc:chgData name="Raether, Jerry" userId="14db987c-f35f-4c71-8653-84d365bd3bb9" providerId="ADAL" clId="{90AB4D30-48C4-4682-BFF1-114A65A1ABB8}" dt="2022-07-27T15:29:13.971" v="1042"/>
      <pc:docMkLst>
        <pc:docMk/>
      </pc:docMkLst>
      <pc:sldChg chg="addSp modSp mod modNotesTx">
        <pc:chgData name="Raether, Jerry" userId="14db987c-f35f-4c71-8653-84d365bd3bb9" providerId="ADAL" clId="{90AB4D30-48C4-4682-BFF1-114A65A1ABB8}" dt="2022-07-27T15:11:04.308" v="1025" actId="20577"/>
        <pc:sldMkLst>
          <pc:docMk/>
          <pc:sldMk cId="414466384" sldId="256"/>
        </pc:sldMkLst>
        <pc:spChg chg="mod">
          <ac:chgData name="Raether, Jerry" userId="14db987c-f35f-4c71-8653-84d365bd3bb9" providerId="ADAL" clId="{90AB4D30-48C4-4682-BFF1-114A65A1ABB8}" dt="2022-07-27T15:11:04.308" v="1025" actId="20577"/>
          <ac:spMkLst>
            <pc:docMk/>
            <pc:sldMk cId="414466384" sldId="256"/>
            <ac:spMk id="5" creationId="{650B538C-8E9C-428A-8731-F59D383BA40D}"/>
          </ac:spMkLst>
        </pc:spChg>
        <pc:spChg chg="add mod">
          <ac:chgData name="Raether, Jerry" userId="14db987c-f35f-4c71-8653-84d365bd3bb9" providerId="ADAL" clId="{90AB4D30-48C4-4682-BFF1-114A65A1ABB8}" dt="2022-06-29T23:32:29.783" v="984" actId="6549"/>
          <ac:spMkLst>
            <pc:docMk/>
            <pc:sldMk cId="414466384" sldId="256"/>
            <ac:spMk id="8" creationId="{895474DD-2346-463E-B260-54DBFBB56DDB}"/>
          </ac:spMkLst>
        </pc:spChg>
      </pc:sldChg>
      <pc:sldChg chg="addSp delSp modSp">
        <pc:chgData name="Raether, Jerry" userId="14db987c-f35f-4c71-8653-84d365bd3bb9" providerId="ADAL" clId="{90AB4D30-48C4-4682-BFF1-114A65A1ABB8}" dt="2022-07-27T15:24:26.713" v="1040"/>
        <pc:sldMkLst>
          <pc:docMk/>
          <pc:sldMk cId="1304444699" sldId="293"/>
        </pc:sldMkLst>
        <pc:picChg chg="del">
          <ac:chgData name="Raether, Jerry" userId="14db987c-f35f-4c71-8653-84d365bd3bb9" providerId="ADAL" clId="{90AB4D30-48C4-4682-BFF1-114A65A1ABB8}" dt="2022-07-27T15:23:23.900" v="1037" actId="478"/>
          <ac:picMkLst>
            <pc:docMk/>
            <pc:sldMk cId="1304444699" sldId="293"/>
            <ac:picMk id="8" creationId="{860251A1-0C11-4324-A7BC-C4B98D89A538}"/>
          </ac:picMkLst>
        </pc:picChg>
        <pc:picChg chg="add del mod">
          <ac:chgData name="Raether, Jerry" userId="14db987c-f35f-4c71-8653-84d365bd3bb9" providerId="ADAL" clId="{90AB4D30-48C4-4682-BFF1-114A65A1ABB8}" dt="2022-07-27T15:24:09.057" v="1039" actId="478"/>
          <ac:picMkLst>
            <pc:docMk/>
            <pc:sldMk cId="1304444699" sldId="293"/>
            <ac:picMk id="22" creationId="{25A5B10F-9A1E-4B68-8FDC-844F6E678E1E}"/>
          </ac:picMkLst>
        </pc:picChg>
        <pc:picChg chg="add mod">
          <ac:chgData name="Raether, Jerry" userId="14db987c-f35f-4c71-8653-84d365bd3bb9" providerId="ADAL" clId="{90AB4D30-48C4-4682-BFF1-114A65A1ABB8}" dt="2022-07-27T15:24:26.713" v="1040"/>
          <ac:picMkLst>
            <pc:docMk/>
            <pc:sldMk cId="1304444699" sldId="293"/>
            <ac:picMk id="23" creationId="{C1D7CB09-9D53-4993-8B07-C74324C17B69}"/>
          </ac:picMkLst>
        </pc:picChg>
      </pc:sldChg>
      <pc:sldChg chg="modSp mod">
        <pc:chgData name="Raether, Jerry" userId="14db987c-f35f-4c71-8653-84d365bd3bb9" providerId="ADAL" clId="{90AB4D30-48C4-4682-BFF1-114A65A1ABB8}" dt="2022-07-27T15:14:42.086" v="1034" actId="6549"/>
        <pc:sldMkLst>
          <pc:docMk/>
          <pc:sldMk cId="1354864347" sldId="316"/>
        </pc:sldMkLst>
        <pc:spChg chg="mod">
          <ac:chgData name="Raether, Jerry" userId="14db987c-f35f-4c71-8653-84d365bd3bb9" providerId="ADAL" clId="{90AB4D30-48C4-4682-BFF1-114A65A1ABB8}" dt="2022-07-27T15:14:42.086" v="1034" actId="6549"/>
          <ac:spMkLst>
            <pc:docMk/>
            <pc:sldMk cId="1354864347" sldId="316"/>
            <ac:spMk id="5" creationId="{00000000-0000-0000-0000-000000000000}"/>
          </ac:spMkLst>
        </pc:spChg>
      </pc:sldChg>
      <pc:sldChg chg="del">
        <pc:chgData name="Raether, Jerry" userId="14db987c-f35f-4c71-8653-84d365bd3bb9" providerId="ADAL" clId="{90AB4D30-48C4-4682-BFF1-114A65A1ABB8}" dt="2022-05-12T20:59:37.483" v="348" actId="47"/>
        <pc:sldMkLst>
          <pc:docMk/>
          <pc:sldMk cId="2090238529" sldId="323"/>
        </pc:sldMkLst>
      </pc:sldChg>
      <pc:sldChg chg="modSp mod">
        <pc:chgData name="Raether, Jerry" userId="14db987c-f35f-4c71-8653-84d365bd3bb9" providerId="ADAL" clId="{90AB4D30-48C4-4682-BFF1-114A65A1ABB8}" dt="2022-05-12T21:37:12.715" v="475"/>
        <pc:sldMkLst>
          <pc:docMk/>
          <pc:sldMk cId="888175597" sldId="326"/>
        </pc:sldMkLst>
        <pc:spChg chg="mod">
          <ac:chgData name="Raether, Jerry" userId="14db987c-f35f-4c71-8653-84d365bd3bb9" providerId="ADAL" clId="{90AB4D30-48C4-4682-BFF1-114A65A1ABB8}" dt="2022-05-12T21:00:14.319" v="376" actId="14100"/>
          <ac:spMkLst>
            <pc:docMk/>
            <pc:sldMk cId="888175597" sldId="326"/>
            <ac:spMk id="3" creationId="{DB42A882-3395-4499-BFC7-78DDD2DD0A09}"/>
          </ac:spMkLst>
        </pc:spChg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888175597" sldId="326"/>
            <ac:spMk id="5" creationId="{00000000-0000-0000-0000-000000000000}"/>
          </ac:spMkLst>
        </pc:spChg>
      </pc:sldChg>
      <pc:sldChg chg="modNotesTx">
        <pc:chgData name="Raether, Jerry" userId="14db987c-f35f-4c71-8653-84d365bd3bb9" providerId="ADAL" clId="{90AB4D30-48C4-4682-BFF1-114A65A1ABB8}" dt="2022-05-12T21:02:40.748" v="440" actId="20577"/>
        <pc:sldMkLst>
          <pc:docMk/>
          <pc:sldMk cId="1228136347" sldId="331"/>
        </pc:sldMkLst>
      </pc:sldChg>
      <pc:sldChg chg="modSp mod">
        <pc:chgData name="Raether, Jerry" userId="14db987c-f35f-4c71-8653-84d365bd3bb9" providerId="ADAL" clId="{90AB4D30-48C4-4682-BFF1-114A65A1ABB8}" dt="2022-06-29T23:17:04.476" v="523" actId="20577"/>
        <pc:sldMkLst>
          <pc:docMk/>
          <pc:sldMk cId="3672931568" sldId="375"/>
        </pc:sldMkLst>
        <pc:graphicFrameChg chg="modGraphic">
          <ac:chgData name="Raether, Jerry" userId="14db987c-f35f-4c71-8653-84d365bd3bb9" providerId="ADAL" clId="{90AB4D30-48C4-4682-BFF1-114A65A1ABB8}" dt="2022-06-29T23:17:04.476" v="523" actId="20577"/>
          <ac:graphicFrameMkLst>
            <pc:docMk/>
            <pc:sldMk cId="3672931568" sldId="375"/>
            <ac:graphicFrameMk id="15" creationId="{10533E11-6D14-4282-942B-C43EC19E3E8B}"/>
          </ac:graphicFrameMkLst>
        </pc:graphicFrameChg>
      </pc:sldChg>
      <pc:sldChg chg="modNotesTx">
        <pc:chgData name="Raether, Jerry" userId="14db987c-f35f-4c71-8653-84d365bd3bb9" providerId="ADAL" clId="{90AB4D30-48C4-4682-BFF1-114A65A1ABB8}" dt="2022-05-12T21:36:57.402" v="474" actId="6549"/>
        <pc:sldMkLst>
          <pc:docMk/>
          <pc:sldMk cId="1948550152" sldId="3602"/>
        </pc:sldMkLst>
      </pc:sldChg>
      <pc:sldChg chg="modSp mod">
        <pc:chgData name="Raether, Jerry" userId="14db987c-f35f-4c71-8653-84d365bd3bb9" providerId="ADAL" clId="{90AB4D30-48C4-4682-BFF1-114A65A1ABB8}" dt="2022-05-12T20:54:33.501" v="297" actId="20577"/>
        <pc:sldMkLst>
          <pc:docMk/>
          <pc:sldMk cId="2673167439" sldId="3603"/>
        </pc:sldMkLst>
        <pc:graphicFrameChg chg="modGraphic">
          <ac:chgData name="Raether, Jerry" userId="14db987c-f35f-4c71-8653-84d365bd3bb9" providerId="ADAL" clId="{90AB4D30-48C4-4682-BFF1-114A65A1ABB8}" dt="2022-05-12T20:54:33.501" v="297" actId="20577"/>
          <ac:graphicFrameMkLst>
            <pc:docMk/>
            <pc:sldMk cId="2673167439" sldId="3603"/>
            <ac:graphicFrameMk id="15" creationId="{79A69B24-3C06-4421-96BE-892291FE5A1F}"/>
          </ac:graphicFrameMkLst>
        </pc:graphicFrameChg>
      </pc:sldChg>
      <pc:sldChg chg="modSp mod modNotes">
        <pc:chgData name="Raether, Jerry" userId="14db987c-f35f-4c71-8653-84d365bd3bb9" providerId="ADAL" clId="{90AB4D30-48C4-4682-BFF1-114A65A1ABB8}" dt="2022-05-24T17:35:41.509" v="511" actId="20577"/>
        <pc:sldMkLst>
          <pc:docMk/>
          <pc:sldMk cId="3222589753" sldId="3610"/>
        </pc:sldMkLst>
        <pc:graphicFrameChg chg="mod modGraphic">
          <ac:chgData name="Raether, Jerry" userId="14db987c-f35f-4c71-8653-84d365bd3bb9" providerId="ADAL" clId="{90AB4D30-48C4-4682-BFF1-114A65A1ABB8}" dt="2022-05-24T17:35:41.509" v="511" actId="20577"/>
          <ac:graphicFrameMkLst>
            <pc:docMk/>
            <pc:sldMk cId="3222589753" sldId="3610"/>
            <ac:graphicFrameMk id="13" creationId="{D23686F0-C751-4A65-AE04-19F6DD98360D}"/>
          </ac:graphicFrameMkLst>
        </pc:graphicFrameChg>
      </pc:sldChg>
      <pc:sldChg chg="addSp delSp modSp mod">
        <pc:chgData name="Raether, Jerry" userId="14db987c-f35f-4c71-8653-84d365bd3bb9" providerId="ADAL" clId="{90AB4D30-48C4-4682-BFF1-114A65A1ABB8}" dt="2022-07-27T15:29:13.971" v="1042"/>
        <pc:sldMkLst>
          <pc:docMk/>
          <pc:sldMk cId="3559413987" sldId="3612"/>
        </pc:sldMkLst>
        <pc:spChg chg="mod">
          <ac:chgData name="Raether, Jerry" userId="14db987c-f35f-4c71-8653-84d365bd3bb9" providerId="ADAL" clId="{90AB4D30-48C4-4682-BFF1-114A65A1ABB8}" dt="2022-05-12T20:57:48.677" v="325" actId="1036"/>
          <ac:spMkLst>
            <pc:docMk/>
            <pc:sldMk cId="3559413987" sldId="3612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57:37.977" v="315" actId="1036"/>
          <ac:spMkLst>
            <pc:docMk/>
            <pc:sldMk cId="3559413987" sldId="3612"/>
            <ac:spMk id="13" creationId="{76513160-9BF9-4D67-8C54-CBD65A69F485}"/>
          </ac:spMkLst>
        </pc:spChg>
        <pc:spChg chg="del mod">
          <ac:chgData name="Raether, Jerry" userId="14db987c-f35f-4c71-8653-84d365bd3bb9" providerId="ADAL" clId="{90AB4D30-48C4-4682-BFF1-114A65A1ABB8}" dt="2022-05-12T20:58:19.938" v="335" actId="478"/>
          <ac:spMkLst>
            <pc:docMk/>
            <pc:sldMk cId="3559413987" sldId="3612"/>
            <ac:spMk id="17" creationId="{0FA4489C-D1EA-4EC8-A497-969A8BE1EE0D}"/>
          </ac:spMkLst>
        </pc:spChg>
        <pc:spChg chg="del">
          <ac:chgData name="Raether, Jerry" userId="14db987c-f35f-4c71-8653-84d365bd3bb9" providerId="ADAL" clId="{90AB4D30-48C4-4682-BFF1-114A65A1ABB8}" dt="2022-05-12T20:58:26.966" v="338" actId="478"/>
          <ac:spMkLst>
            <pc:docMk/>
            <pc:sldMk cId="3559413987" sldId="3612"/>
            <ac:spMk id="24" creationId="{4EF01C5F-1A1A-4E76-9819-7924B25A5753}"/>
          </ac:spMkLst>
        </pc:spChg>
        <pc:graphicFrameChg chg="modGraphic">
          <ac:chgData name="Raether, Jerry" userId="14db987c-f35f-4c71-8653-84d365bd3bb9" providerId="ADAL" clId="{90AB4D30-48C4-4682-BFF1-114A65A1ABB8}" dt="2022-05-12T20:57:09.252" v="305" actId="20577"/>
          <ac:graphicFrameMkLst>
            <pc:docMk/>
            <pc:sldMk cId="3559413987" sldId="3612"/>
            <ac:graphicFrameMk id="20" creationId="{2A3B3914-05EB-4FC6-9A6C-5211A6EE97E2}"/>
          </ac:graphicFrameMkLst>
        </pc:graphicFrameChg>
        <pc:picChg chg="add mod">
          <ac:chgData name="Raether, Jerry" userId="14db987c-f35f-4c71-8653-84d365bd3bb9" providerId="ADAL" clId="{90AB4D30-48C4-4682-BFF1-114A65A1ABB8}" dt="2022-07-27T15:29:13.971" v="1042"/>
          <ac:picMkLst>
            <pc:docMk/>
            <pc:sldMk cId="3559413987" sldId="3612"/>
            <ac:picMk id="9" creationId="{7FFF7952-D042-4FAA-8AB5-B8A5A5A0607D}"/>
          </ac:picMkLst>
        </pc:picChg>
        <pc:picChg chg="del">
          <ac:chgData name="Raether, Jerry" userId="14db987c-f35f-4c71-8653-84d365bd3bb9" providerId="ADAL" clId="{90AB4D30-48C4-4682-BFF1-114A65A1ABB8}" dt="2022-07-27T15:28:27.948" v="1041" actId="478"/>
          <ac:picMkLst>
            <pc:docMk/>
            <pc:sldMk cId="3559413987" sldId="3612"/>
            <ac:picMk id="11" creationId="{D83D159A-615F-4E48-A641-63296391D1A3}"/>
          </ac:picMkLst>
        </pc:picChg>
        <pc:picChg chg="mod">
          <ac:chgData name="Raether, Jerry" userId="14db987c-f35f-4c71-8653-84d365bd3bb9" providerId="ADAL" clId="{90AB4D30-48C4-4682-BFF1-114A65A1ABB8}" dt="2022-05-12T20:58:29.238" v="339" actId="1076"/>
          <ac:picMkLst>
            <pc:docMk/>
            <pc:sldMk cId="3559413987" sldId="3612"/>
            <ac:picMk id="21" creationId="{A3706D9C-7B15-45A9-A8C7-C2D3B394CFF4}"/>
          </ac:picMkLst>
        </pc:picChg>
        <pc:picChg chg="mod">
          <ac:chgData name="Raether, Jerry" userId="14db987c-f35f-4c71-8653-84d365bd3bb9" providerId="ADAL" clId="{90AB4D30-48C4-4682-BFF1-114A65A1ABB8}" dt="2022-05-12T20:58:22.429" v="336" actId="1076"/>
          <ac:picMkLst>
            <pc:docMk/>
            <pc:sldMk cId="3559413987" sldId="3612"/>
            <ac:picMk id="23" creationId="{B87A4B5B-D98E-4FE0-8197-F3DEA0C37D34}"/>
          </ac:picMkLst>
        </pc:picChg>
      </pc:sldChg>
      <pc:sldChg chg="del">
        <pc:chgData name="Raether, Jerry" userId="14db987c-f35f-4c71-8653-84d365bd3bb9" providerId="ADAL" clId="{90AB4D30-48C4-4682-BFF1-114A65A1ABB8}" dt="2022-05-12T20:59:39.205" v="349" actId="47"/>
        <pc:sldMkLst>
          <pc:docMk/>
          <pc:sldMk cId="1692230619" sldId="3614"/>
        </pc:sldMkLst>
      </pc:sldChg>
      <pc:sldChg chg="modSp mod">
        <pc:chgData name="Raether, Jerry" userId="14db987c-f35f-4c71-8653-84d365bd3bb9" providerId="ADAL" clId="{90AB4D30-48C4-4682-BFF1-114A65A1ABB8}" dt="2022-05-12T21:36:22.224" v="448" actId="20577"/>
        <pc:sldMkLst>
          <pc:docMk/>
          <pc:sldMk cId="4133373926" sldId="3619"/>
        </pc:sldMkLst>
        <pc:spChg chg="mod">
          <ac:chgData name="Raether, Jerry" userId="14db987c-f35f-4c71-8653-84d365bd3bb9" providerId="ADAL" clId="{90AB4D30-48C4-4682-BFF1-114A65A1ABB8}" dt="2022-05-12T20:49:13.470" v="202"/>
          <ac:spMkLst>
            <pc:docMk/>
            <pc:sldMk cId="4133373926" sldId="3619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36:22.224" v="448" actId="20577"/>
          <ac:spMkLst>
            <pc:docMk/>
            <pc:sldMk cId="4133373926" sldId="3619"/>
            <ac:spMk id="6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49:31.981" v="203" actId="33524"/>
          <ac:spMkLst>
            <pc:docMk/>
            <pc:sldMk cId="4133373926" sldId="3619"/>
            <ac:spMk id="13" creationId="{B431345D-4ACB-4F7F-AC85-B1A8E38BB4B1}"/>
          </ac:spMkLst>
        </pc:spChg>
        <pc:spChg chg="mod">
          <ac:chgData name="Raether, Jerry" userId="14db987c-f35f-4c71-8653-84d365bd3bb9" providerId="ADAL" clId="{90AB4D30-48C4-4682-BFF1-114A65A1ABB8}" dt="2022-05-12T20:49:49.103" v="217" actId="6549"/>
          <ac:spMkLst>
            <pc:docMk/>
            <pc:sldMk cId="4133373926" sldId="3619"/>
            <ac:spMk id="17" creationId="{BDFD3054-8D53-4BD8-B2CA-B2964856F366}"/>
          </ac:spMkLst>
        </pc:spChg>
        <pc:spChg chg="mod">
          <ac:chgData name="Raether, Jerry" userId="14db987c-f35f-4c71-8653-84d365bd3bb9" providerId="ADAL" clId="{90AB4D30-48C4-4682-BFF1-114A65A1ABB8}" dt="2022-05-12T20:49:56.837" v="231" actId="6549"/>
          <ac:spMkLst>
            <pc:docMk/>
            <pc:sldMk cId="4133373926" sldId="3619"/>
            <ac:spMk id="19" creationId="{BF2BB4F5-6BBE-4313-8093-E026F250E3B6}"/>
          </ac:spMkLst>
        </pc:spChg>
        <pc:picChg chg="mod">
          <ac:chgData name="Raether, Jerry" userId="14db987c-f35f-4c71-8653-84d365bd3bb9" providerId="ADAL" clId="{90AB4D30-48C4-4682-BFF1-114A65A1ABB8}" dt="2022-05-12T20:50:04.172" v="233" actId="1076"/>
          <ac:picMkLst>
            <pc:docMk/>
            <pc:sldMk cId="4133373926" sldId="3619"/>
            <ac:picMk id="25" creationId="{67855199-ECDE-411B-BC67-8775679F27E1}"/>
          </ac:picMkLst>
        </pc:picChg>
        <pc:picChg chg="mod">
          <ac:chgData name="Raether, Jerry" userId="14db987c-f35f-4c71-8653-84d365bd3bb9" providerId="ADAL" clId="{90AB4D30-48C4-4682-BFF1-114A65A1ABB8}" dt="2022-05-12T20:50:05.483" v="234" actId="1076"/>
          <ac:picMkLst>
            <pc:docMk/>
            <pc:sldMk cId="4133373926" sldId="3619"/>
            <ac:picMk id="26" creationId="{42B591F1-A686-4DC9-9787-B25FEC953005}"/>
          </ac:picMkLst>
        </pc:picChg>
      </pc:sldChg>
      <pc:sldChg chg="addSp delSp modSp">
        <pc:chgData name="Raether, Jerry" userId="14db987c-f35f-4c71-8653-84d365bd3bb9" providerId="ADAL" clId="{90AB4D30-48C4-4682-BFF1-114A65A1ABB8}" dt="2022-07-27T15:16:52.227" v="1036"/>
        <pc:sldMkLst>
          <pc:docMk/>
          <pc:sldMk cId="1490288003" sldId="3620"/>
        </pc:sldMkLst>
        <pc:picChg chg="del">
          <ac:chgData name="Raether, Jerry" userId="14db987c-f35f-4c71-8653-84d365bd3bb9" providerId="ADAL" clId="{90AB4D30-48C4-4682-BFF1-114A65A1ABB8}" dt="2022-07-27T15:16:50.963" v="1035" actId="478"/>
          <ac:picMkLst>
            <pc:docMk/>
            <pc:sldMk cId="1490288003" sldId="3620"/>
            <ac:picMk id="9" creationId="{18104B31-8DD4-4248-9C46-38658EA94F6D}"/>
          </ac:picMkLst>
        </pc:picChg>
        <pc:picChg chg="add mod">
          <ac:chgData name="Raether, Jerry" userId="14db987c-f35f-4c71-8653-84d365bd3bb9" providerId="ADAL" clId="{90AB4D30-48C4-4682-BFF1-114A65A1ABB8}" dt="2022-07-27T15:16:52.227" v="1036"/>
          <ac:picMkLst>
            <pc:docMk/>
            <pc:sldMk cId="1490288003" sldId="3620"/>
            <ac:picMk id="24" creationId="{F5D87CE3-EF10-433E-8969-94C7EA8FEEA4}"/>
          </ac:picMkLst>
        </pc:picChg>
      </pc:sldChg>
      <pc:sldChg chg="modSp mod modNotesTx">
        <pc:chgData name="Raether, Jerry" userId="14db987c-f35f-4c71-8653-84d365bd3bb9" providerId="ADAL" clId="{90AB4D30-48C4-4682-BFF1-114A65A1ABB8}" dt="2022-06-29T23:36:01.799" v="1021" actId="6549"/>
        <pc:sldMkLst>
          <pc:docMk/>
          <pc:sldMk cId="3626150123" sldId="4263"/>
        </pc:sldMkLst>
        <pc:spChg chg="mod">
          <ac:chgData name="Raether, Jerry" userId="14db987c-f35f-4c71-8653-84d365bd3bb9" providerId="ADAL" clId="{90AB4D30-48C4-4682-BFF1-114A65A1ABB8}" dt="2022-06-29T23:36:01.799" v="1021" actId="6549"/>
          <ac:spMkLst>
            <pc:docMk/>
            <pc:sldMk cId="3626150123" sldId="4263"/>
            <ac:spMk id="6" creationId="{2BA6AC9F-D16D-43DA-A2DF-DBAD687C4C9C}"/>
          </ac:spMkLst>
        </pc:spChg>
        <pc:spChg chg="mod">
          <ac:chgData name="Raether, Jerry" userId="14db987c-f35f-4c71-8653-84d365bd3bb9" providerId="ADAL" clId="{90AB4D30-48C4-4682-BFF1-114A65A1ABB8}" dt="2022-05-12T18:33:12.449" v="96" actId="6549"/>
          <ac:spMkLst>
            <pc:docMk/>
            <pc:sldMk cId="3626150123" sldId="4263"/>
            <ac:spMk id="196" creationId="{E08E976B-2F06-4440-A134-E82E1231F5DD}"/>
          </ac:spMkLst>
        </pc:spChg>
        <pc:cxnChg chg="mod">
          <ac:chgData name="Raether, Jerry" userId="14db987c-f35f-4c71-8653-84d365bd3bb9" providerId="ADAL" clId="{90AB4D30-48C4-4682-BFF1-114A65A1ABB8}" dt="2022-06-29T23:23:46.973" v="727" actId="14100"/>
          <ac:cxnSpMkLst>
            <pc:docMk/>
            <pc:sldMk cId="3626150123" sldId="4263"/>
            <ac:cxnSpMk id="38" creationId="{EDD677DB-A66F-4EFA-9CBF-5F77055C9F27}"/>
          </ac:cxnSpMkLst>
        </pc:cxnChg>
        <pc:cxnChg chg="mod">
          <ac:chgData name="Raether, Jerry" userId="14db987c-f35f-4c71-8653-84d365bd3bb9" providerId="ADAL" clId="{90AB4D30-48C4-4682-BFF1-114A65A1ABB8}" dt="2022-06-29T23:23:23.721" v="724" actId="14100"/>
          <ac:cxnSpMkLst>
            <pc:docMk/>
            <pc:sldMk cId="3626150123" sldId="4263"/>
            <ac:cxnSpMk id="47" creationId="{E68599B3-C798-48D1-BC22-402B8B429CE7}"/>
          </ac:cxnSpMkLst>
        </pc:cxnChg>
        <pc:cxnChg chg="mod">
          <ac:chgData name="Raether, Jerry" userId="14db987c-f35f-4c71-8653-84d365bd3bb9" providerId="ADAL" clId="{90AB4D30-48C4-4682-BFF1-114A65A1ABB8}" dt="2022-06-29T23:23:28.553" v="725" actId="14100"/>
          <ac:cxnSpMkLst>
            <pc:docMk/>
            <pc:sldMk cId="3626150123" sldId="4263"/>
            <ac:cxnSpMk id="48" creationId="{9E99BBD1-D900-4934-9577-024DAC5FE6F0}"/>
          </ac:cxnSpMkLst>
        </pc:cxnChg>
        <pc:cxnChg chg="mod">
          <ac:chgData name="Raether, Jerry" userId="14db987c-f35f-4c71-8653-84d365bd3bb9" providerId="ADAL" clId="{90AB4D30-48C4-4682-BFF1-114A65A1ABB8}" dt="2022-05-12T18:31:32.372" v="14" actId="14100"/>
          <ac:cxnSpMkLst>
            <pc:docMk/>
            <pc:sldMk cId="3626150123" sldId="4263"/>
            <ac:cxnSpMk id="51" creationId="{542AFDD7-883D-4138-87F2-7D345AD931DA}"/>
          </ac:cxnSpMkLst>
        </pc:cxnChg>
        <pc:cxnChg chg="mod">
          <ac:chgData name="Raether, Jerry" userId="14db987c-f35f-4c71-8653-84d365bd3bb9" providerId="ADAL" clId="{90AB4D30-48C4-4682-BFF1-114A65A1ABB8}" dt="2022-05-12T18:31:53.975" v="27" actId="14100"/>
          <ac:cxnSpMkLst>
            <pc:docMk/>
            <pc:sldMk cId="3626150123" sldId="4263"/>
            <ac:cxnSpMk id="58" creationId="{0F4811C2-333D-47FB-BADE-B8D959669805}"/>
          </ac:cxnSpMkLst>
        </pc:cxnChg>
        <pc:cxnChg chg="mod">
          <ac:chgData name="Raether, Jerry" userId="14db987c-f35f-4c71-8653-84d365bd3bb9" providerId="ADAL" clId="{90AB4D30-48C4-4682-BFF1-114A65A1ABB8}" dt="2022-05-12T18:32:14.545" v="42" actId="14100"/>
          <ac:cxnSpMkLst>
            <pc:docMk/>
            <pc:sldMk cId="3626150123" sldId="4263"/>
            <ac:cxnSpMk id="83" creationId="{F1E5A77C-1B5C-4497-ABDA-A095AFABF477}"/>
          </ac:cxnSpMkLst>
        </pc:cxnChg>
        <pc:cxnChg chg="mod">
          <ac:chgData name="Raether, Jerry" userId="14db987c-f35f-4c71-8653-84d365bd3bb9" providerId="ADAL" clId="{90AB4D30-48C4-4682-BFF1-114A65A1ABB8}" dt="2022-06-29T23:23:39.503" v="726" actId="14100"/>
          <ac:cxnSpMkLst>
            <pc:docMk/>
            <pc:sldMk cId="3626150123" sldId="4263"/>
            <ac:cxnSpMk id="85" creationId="{5C7F86B7-4359-4C94-9059-EF68332BCF7B}"/>
          </ac:cxnSpMkLst>
        </pc:cxnChg>
        <pc:cxnChg chg="mod">
          <ac:chgData name="Raether, Jerry" userId="14db987c-f35f-4c71-8653-84d365bd3bb9" providerId="ADAL" clId="{90AB4D30-48C4-4682-BFF1-114A65A1ABB8}" dt="2022-05-12T18:32:46.584" v="60" actId="14100"/>
          <ac:cxnSpMkLst>
            <pc:docMk/>
            <pc:sldMk cId="3626150123" sldId="4263"/>
            <ac:cxnSpMk id="86" creationId="{B70BDA47-5780-443C-A023-6BB53ECC939D}"/>
          </ac:cxnSpMkLst>
        </pc:cxnChg>
        <pc:cxnChg chg="mod">
          <ac:chgData name="Raether, Jerry" userId="14db987c-f35f-4c71-8653-84d365bd3bb9" providerId="ADAL" clId="{90AB4D30-48C4-4682-BFF1-114A65A1ABB8}" dt="2022-05-12T18:32:38.371" v="59" actId="14100"/>
          <ac:cxnSpMkLst>
            <pc:docMk/>
            <pc:sldMk cId="3626150123" sldId="4263"/>
            <ac:cxnSpMk id="742" creationId="{CE320F8F-BE22-498C-AC3B-2B60831FC726}"/>
          </ac:cxnSpMkLst>
        </pc:cxnChg>
      </pc:sldChg>
      <pc:sldChg chg="modSp mod">
        <pc:chgData name="Raether, Jerry" userId="14db987c-f35f-4c71-8653-84d365bd3bb9" providerId="ADAL" clId="{90AB4D30-48C4-4682-BFF1-114A65A1ABB8}" dt="2022-05-12T21:37:15.199" v="483" actId="20577"/>
        <pc:sldMkLst>
          <pc:docMk/>
          <pc:sldMk cId="270707387" sldId="4265"/>
        </pc:sldMkLst>
        <pc:spChg chg="mod">
          <ac:chgData name="Raether, Jerry" userId="14db987c-f35f-4c71-8653-84d365bd3bb9" providerId="ADAL" clId="{90AB4D30-48C4-4682-BFF1-114A65A1ABB8}" dt="2022-05-12T21:37:15.199" v="483" actId="20577"/>
          <ac:spMkLst>
            <pc:docMk/>
            <pc:sldMk cId="270707387" sldId="4265"/>
            <ac:spMk id="6" creationId="{76C91FAD-A65A-4B88-A45A-E8D1CF176F33}"/>
          </ac:spMkLst>
        </pc:spChg>
        <pc:graphicFrameChg chg="modGraphic">
          <ac:chgData name="Raether, Jerry" userId="14db987c-f35f-4c71-8653-84d365bd3bb9" providerId="ADAL" clId="{90AB4D30-48C4-4682-BFF1-114A65A1ABB8}" dt="2022-05-12T20:58:52.485" v="347" actId="20577"/>
          <ac:graphicFrameMkLst>
            <pc:docMk/>
            <pc:sldMk cId="270707387" sldId="4265"/>
            <ac:graphicFrameMk id="18" creationId="{B26D893D-B451-4FE3-A72C-C83032CAEA5C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18:34:00.310" v="109" actId="2165"/>
        <pc:sldMkLst>
          <pc:docMk/>
          <pc:sldMk cId="2261095948" sldId="4266"/>
        </pc:sldMkLst>
        <pc:graphicFrameChg chg="modGraphic">
          <ac:chgData name="Raether, Jerry" userId="14db987c-f35f-4c71-8653-84d365bd3bb9" providerId="ADAL" clId="{90AB4D30-48C4-4682-BFF1-114A65A1ABB8}" dt="2022-05-12T18:34:00.310" v="109" actId="2165"/>
          <ac:graphicFrameMkLst>
            <pc:docMk/>
            <pc:sldMk cId="2261095948" sldId="4266"/>
            <ac:graphicFrameMk id="8" creationId="{00000000-0000-0000-0000-000000000000}"/>
          </ac:graphicFrameMkLst>
        </pc:graphicFrameChg>
      </pc:sldChg>
      <pc:sldChg chg="modSp">
        <pc:chgData name="Raether, Jerry" userId="14db987c-f35f-4c71-8653-84d365bd3bb9" providerId="ADAL" clId="{90AB4D30-48C4-4682-BFF1-114A65A1ABB8}" dt="2022-05-12T21:37:12.715" v="475"/>
        <pc:sldMkLst>
          <pc:docMk/>
          <pc:sldMk cId="2300956671" sldId="4271"/>
        </pc:sldMkLst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2300956671" sldId="4271"/>
            <ac:spMk id="17" creationId="{98C93522-5A81-40A5-834A-7CC7643CB426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1:43.720" v="413" actId="6549"/>
        <pc:sldMkLst>
          <pc:docMk/>
          <pc:sldMk cId="2586647777" sldId="4274"/>
        </pc:sldMkLst>
        <pc:spChg chg="mod">
          <ac:chgData name="Raether, Jerry" userId="14db987c-f35f-4c71-8653-84d365bd3bb9" providerId="ADAL" clId="{90AB4D30-48C4-4682-BFF1-114A65A1ABB8}" dt="2022-05-12T21:01:12.404" v="391"/>
          <ac:spMkLst>
            <pc:docMk/>
            <pc:sldMk cId="2586647777" sldId="4274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01:20.561" v="399" actId="20577"/>
          <ac:spMkLst>
            <pc:docMk/>
            <pc:sldMk cId="2586647777" sldId="4274"/>
            <ac:spMk id="34" creationId="{0B1023CE-411D-4A8D-A41E-5DE1CCB62607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2:26.906" v="439" actId="6549"/>
        <pc:sldMkLst>
          <pc:docMk/>
          <pc:sldMk cId="2776648146" sldId="4276"/>
        </pc:sldMkLst>
        <pc:graphicFrameChg chg="modGraphic">
          <ac:chgData name="Raether, Jerry" userId="14db987c-f35f-4c71-8653-84d365bd3bb9" providerId="ADAL" clId="{90AB4D30-48C4-4682-BFF1-114A65A1ABB8}" dt="2022-05-12T21:02:09.729" v="425" actId="20577"/>
          <ac:graphicFrameMkLst>
            <pc:docMk/>
            <pc:sldMk cId="2776648146" sldId="4276"/>
            <ac:graphicFrameMk id="14" creationId="{219AAD19-813D-4C3D-9A80-CB62CAA08099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20:51:35.409" v="256" actId="6549"/>
        <pc:sldMkLst>
          <pc:docMk/>
          <pc:sldMk cId="3550731511" sldId="2147374543"/>
        </pc:sldMkLst>
        <pc:spChg chg="mod">
          <ac:chgData name="Raether, Jerry" userId="14db987c-f35f-4c71-8653-84d365bd3bb9" providerId="ADAL" clId="{90AB4D30-48C4-4682-BFF1-114A65A1ABB8}" dt="2022-05-12T20:51:35.409" v="256" actId="6549"/>
          <ac:spMkLst>
            <pc:docMk/>
            <pc:sldMk cId="3550731511" sldId="2147374543"/>
            <ac:spMk id="2" creationId="{5E9386B8-5C25-45BC-84E3-F7F7022D92AD}"/>
          </ac:spMkLst>
        </pc:spChg>
        <pc:graphicFrameChg chg="modGraphic">
          <ac:chgData name="Raether, Jerry" userId="14db987c-f35f-4c71-8653-84d365bd3bb9" providerId="ADAL" clId="{90AB4D30-48C4-4682-BFF1-114A65A1ABB8}" dt="2022-05-12T20:50:44.999" v="242" actId="20577"/>
          <ac:graphicFrameMkLst>
            <pc:docMk/>
            <pc:sldMk cId="3550731511" sldId="2147374543"/>
            <ac:graphicFrameMk id="4" creationId="{73D26D84-F2D4-454F-9CBC-CD99B833945A}"/>
          </ac:graphicFrameMkLst>
        </pc:graphicFrameChg>
      </pc:sldChg>
      <pc:sldChg chg="delSp modSp del mod">
        <pc:chgData name="Raether, Jerry" userId="14db987c-f35f-4c71-8653-84d365bd3bb9" providerId="ADAL" clId="{90AB4D30-48C4-4682-BFF1-114A65A1ABB8}" dt="2022-05-24T16:36:22.806" v="501" actId="47"/>
        <pc:sldMkLst>
          <pc:docMk/>
          <pc:sldMk cId="2732325099" sldId="2147374545"/>
        </pc:sldMkLst>
        <pc:spChg chg="del">
          <ac:chgData name="Raether, Jerry" userId="14db987c-f35f-4c71-8653-84d365bd3bb9" providerId="ADAL" clId="{90AB4D30-48C4-4682-BFF1-114A65A1ABB8}" dt="2022-05-24T16:34:46.156" v="485" actId="478"/>
          <ac:spMkLst>
            <pc:docMk/>
            <pc:sldMk cId="2732325099" sldId="2147374545"/>
            <ac:spMk id="2" creationId="{E13C2BC8-E6C3-43B3-9946-27ECF952ABA9}"/>
          </ac:spMkLst>
        </pc:spChg>
        <pc:graphicFrameChg chg="mod modGraphic">
          <ac:chgData name="Raether, Jerry" userId="14db987c-f35f-4c71-8653-84d365bd3bb9" providerId="ADAL" clId="{90AB4D30-48C4-4682-BFF1-114A65A1ABB8}" dt="2022-05-24T16:34:54.431" v="500" actId="1036"/>
          <ac:graphicFrameMkLst>
            <pc:docMk/>
            <pc:sldMk cId="2732325099" sldId="2147374545"/>
            <ac:graphicFrameMk id="18" creationId="{B26D893D-B451-4FE3-A72C-C83032CAEA5C}"/>
          </ac:graphicFrameMkLst>
        </pc:graphicFrameChg>
        <pc:picChg chg="del">
          <ac:chgData name="Raether, Jerry" userId="14db987c-f35f-4c71-8653-84d365bd3bb9" providerId="ADAL" clId="{90AB4D30-48C4-4682-BFF1-114A65A1ABB8}" dt="2022-05-24T16:34:47.479" v="486" actId="478"/>
          <ac:picMkLst>
            <pc:docMk/>
            <pc:sldMk cId="2732325099" sldId="2147374545"/>
            <ac:picMk id="4" creationId="{15B4BC4B-4865-4A13-8856-7A1B583BB9F4}"/>
          </ac:picMkLst>
        </pc:picChg>
        <pc:picChg chg="del">
          <ac:chgData name="Raether, Jerry" userId="14db987c-f35f-4c71-8653-84d365bd3bb9" providerId="ADAL" clId="{90AB4D30-48C4-4682-BFF1-114A65A1ABB8}" dt="2022-05-24T16:34:46.156" v="485" actId="478"/>
          <ac:picMkLst>
            <pc:docMk/>
            <pc:sldMk cId="2732325099" sldId="2147374545"/>
            <ac:picMk id="26" creationId="{DE6E3659-0561-49CE-A23E-1F02176CCC7D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2224B0B-B14D-40AC-82DF-F3306E84CD2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F87035F-7A70-47F4-BE9C-22A896CD40F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4D8EA7-7DA4-4945-AC0B-1C137F860C15}" type="datetimeFigureOut">
              <a:rPr lang="es-PE" smtClean="0">
                <a:latin typeface="PTCRaleway" panose="020B0503030101060003" pitchFamily="34" charset="0"/>
              </a:rPr>
              <a:t>16/10/2023</a:t>
            </a:fld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11217F-1BC1-4AA5-8B2B-5ECC481CC3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F08F94-7F82-4A63-917E-74383B6A0A5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76B9F4-9710-4869-B60C-B0B61D2780E4}" type="slidenum">
              <a:rPr lang="es-PE" smtClean="0">
                <a:latin typeface="PTCRaleway" panose="020B0503030101060003" pitchFamily="34" charset="0"/>
              </a:rPr>
              <a:t>‹#›</a:t>
            </a:fld>
            <a:endParaRPr lang="es-PE" dirty="0">
              <a:latin typeface="PTCRaleway" panose="020B050303010106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24653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AC5DD82D-684E-4FFB-8320-B8CCB1AF24EB}" type="datetimeFigureOut">
              <a:rPr lang="en-US" smtClean="0"/>
              <a:pPr/>
              <a:t>10/16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D1F37E36-7D7C-4671-B3B8-2BFBF9F6F7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16443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defTabSz="894832">
              <a:spcBef>
                <a:spcPts val="0"/>
              </a:spcBef>
              <a:buNone/>
              <a:defRPr/>
            </a:pPr>
            <a:endParaRPr lang="en-GB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69F304-ADA7-46EF-8A38-C4E5E6F6404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19651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7" Type="http://schemas.openxmlformats.org/officeDocument/2006/relationships/image" Target="../media/image1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microsoft.com/office/2007/relationships/hdphoto" Target="../media/hdphoto1.wdp"/><Relationship Id="rId4" Type="http://schemas.openxmlformats.org/officeDocument/2006/relationships/image" Target="../media/image11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7.emf"/><Relationship Id="rId7" Type="http://schemas.openxmlformats.org/officeDocument/2006/relationships/image" Target="../media/image2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hyperlink" Target="https://facebook.com/ptc.inc" TargetMode="External"/><Relationship Id="rId13" Type="http://schemas.openxmlformats.org/officeDocument/2006/relationships/image" Target="../media/image27.png"/><Relationship Id="rId3" Type="http://schemas.openxmlformats.org/officeDocument/2006/relationships/image" Target="../media/image20.png"/><Relationship Id="rId7" Type="http://schemas.openxmlformats.org/officeDocument/2006/relationships/image" Target="../media/image24.emf"/><Relationship Id="rId12" Type="http://schemas.openxmlformats.org/officeDocument/2006/relationships/hyperlink" Target="https://www.linkedin.com/company/ptc/" TargetMode="External"/><Relationship Id="rId17" Type="http://schemas.openxmlformats.org/officeDocument/2006/relationships/image" Target="../media/image30.svg"/><Relationship Id="rId2" Type="http://schemas.openxmlformats.org/officeDocument/2006/relationships/hyperlink" Target="https://www.ptc.com/" TargetMode="External"/><Relationship Id="rId16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3.png"/><Relationship Id="rId11" Type="http://schemas.openxmlformats.org/officeDocument/2006/relationships/image" Target="../media/image26.png"/><Relationship Id="rId5" Type="http://schemas.openxmlformats.org/officeDocument/2006/relationships/image" Target="../media/image22.png"/><Relationship Id="rId15" Type="http://schemas.openxmlformats.org/officeDocument/2006/relationships/image" Target="../media/image28.png"/><Relationship Id="rId10" Type="http://schemas.openxmlformats.org/officeDocument/2006/relationships/hyperlink" Target="https://twitter.com/ptc" TargetMode="External"/><Relationship Id="rId4" Type="http://schemas.openxmlformats.org/officeDocument/2006/relationships/image" Target="../media/image21.svg"/><Relationship Id="rId9" Type="http://schemas.openxmlformats.org/officeDocument/2006/relationships/image" Target="../media/image25.png"/><Relationship Id="rId14" Type="http://schemas.openxmlformats.org/officeDocument/2006/relationships/hyperlink" Target="https://youtube.com/ptc" TargetMode="Externa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w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737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38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372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9112476-DA2C-46A6-9213-5CA80A53F74F}"/>
              </a:ext>
            </a:extLst>
          </p:cNvPr>
          <p:cNvGrpSpPr/>
          <p:nvPr userDrawn="1"/>
        </p:nvGrpSpPr>
        <p:grpSpPr>
          <a:xfrm>
            <a:off x="4974342" y="0"/>
            <a:ext cx="7217659" cy="6867927"/>
            <a:chOff x="4974342" y="0"/>
            <a:chExt cx="7217659" cy="6867927"/>
          </a:xfrm>
          <a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59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grpSpPr>
        <p:sp>
          <p:nvSpPr>
            <p:cNvPr id="15" name="Freeform: Shape 17">
              <a:extLst>
                <a:ext uri="{FF2B5EF4-FFF2-40B4-BE49-F238E27FC236}">
                  <a16:creationId xmlns:a16="http://schemas.microsoft.com/office/drawing/2014/main" id="{03572900-C8B4-4FAF-9AE0-E3560497EC94}"/>
                </a:ext>
              </a:extLst>
            </p:cNvPr>
            <p:cNvSpPr/>
            <p:nvPr/>
          </p:nvSpPr>
          <p:spPr>
            <a:xfrm>
              <a:off x="4974342" y="0"/>
              <a:ext cx="4554128" cy="6139965"/>
            </a:xfrm>
            <a:custGeom>
              <a:avLst/>
              <a:gdLst>
                <a:gd name="connsiteX0" fmla="*/ 1298953 w 4554128"/>
                <a:gd name="connsiteY0" fmla="*/ 0 h 6139965"/>
                <a:gd name="connsiteX1" fmla="*/ 4554128 w 4554128"/>
                <a:gd name="connsiteY1" fmla="*/ 0 h 6139965"/>
                <a:gd name="connsiteX2" fmla="*/ 2231403 w 4554128"/>
                <a:gd name="connsiteY2" fmla="*/ 6139965 h 6139965"/>
                <a:gd name="connsiteX3" fmla="*/ 0 w 4554128"/>
                <a:gd name="connsiteY3" fmla="*/ 3393340 h 6139965"/>
                <a:gd name="connsiteX4" fmla="*/ 1298953 w 4554128"/>
                <a:gd name="connsiteY4" fmla="*/ 0 h 6139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128" h="6139965">
                  <a:moveTo>
                    <a:pt x="1298953" y="0"/>
                  </a:moveTo>
                  <a:lnTo>
                    <a:pt x="4554128" y="0"/>
                  </a:lnTo>
                  <a:lnTo>
                    <a:pt x="2231403" y="6139965"/>
                  </a:lnTo>
                  <a:lnTo>
                    <a:pt x="0" y="3393340"/>
                  </a:lnTo>
                  <a:lnTo>
                    <a:pt x="1298953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23">
              <a:extLst>
                <a:ext uri="{FF2B5EF4-FFF2-40B4-BE49-F238E27FC236}">
                  <a16:creationId xmlns:a16="http://schemas.microsoft.com/office/drawing/2014/main" id="{EAC1E2BB-6C9C-4678-9B6B-89CCFC6E6ECD}"/>
                </a:ext>
              </a:extLst>
            </p:cNvPr>
            <p:cNvSpPr/>
            <p:nvPr/>
          </p:nvSpPr>
          <p:spPr>
            <a:xfrm>
              <a:off x="9482470" y="0"/>
              <a:ext cx="2709530" cy="2273732"/>
            </a:xfrm>
            <a:custGeom>
              <a:avLst/>
              <a:gdLst>
                <a:gd name="connsiteX0" fmla="*/ 866270 w 2709530"/>
                <a:gd name="connsiteY0" fmla="*/ 0 h 2273732"/>
                <a:gd name="connsiteX1" fmla="*/ 2709530 w 2709530"/>
                <a:gd name="connsiteY1" fmla="*/ 0 h 2273732"/>
                <a:gd name="connsiteX2" fmla="*/ 2709530 w 2709530"/>
                <a:gd name="connsiteY2" fmla="*/ 1843430 h 2273732"/>
                <a:gd name="connsiteX3" fmla="*/ 0 w 2709530"/>
                <a:gd name="connsiteY3" fmla="*/ 2273732 h 2273732"/>
                <a:gd name="connsiteX4" fmla="*/ 866270 w 2709530"/>
                <a:gd name="connsiteY4" fmla="*/ 0 h 227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530" h="2273732">
                  <a:moveTo>
                    <a:pt x="866270" y="0"/>
                  </a:moveTo>
                  <a:lnTo>
                    <a:pt x="2709530" y="0"/>
                  </a:lnTo>
                  <a:lnTo>
                    <a:pt x="2709530" y="1843430"/>
                  </a:lnTo>
                  <a:lnTo>
                    <a:pt x="0" y="2273732"/>
                  </a:lnTo>
                  <a:lnTo>
                    <a:pt x="866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31">
              <a:extLst>
                <a:ext uri="{FF2B5EF4-FFF2-40B4-BE49-F238E27FC236}">
                  <a16:creationId xmlns:a16="http://schemas.microsoft.com/office/drawing/2014/main" id="{B7471F1D-1107-442C-8B1E-D54C148C5EB9}"/>
                </a:ext>
              </a:extLst>
            </p:cNvPr>
            <p:cNvSpPr/>
            <p:nvPr/>
          </p:nvSpPr>
          <p:spPr>
            <a:xfrm>
              <a:off x="7809494" y="2296870"/>
              <a:ext cx="4382507" cy="4571057"/>
            </a:xfrm>
            <a:custGeom>
              <a:avLst/>
              <a:gdLst>
                <a:gd name="connsiteX0" fmla="*/ 4382507 w 4382507"/>
                <a:gd name="connsiteY0" fmla="*/ 0 h 4571057"/>
                <a:gd name="connsiteX1" fmla="*/ 4382507 w 4382507"/>
                <a:gd name="connsiteY1" fmla="*/ 2755449 h 4571057"/>
                <a:gd name="connsiteX2" fmla="*/ 3801694 w 4382507"/>
                <a:gd name="connsiteY2" fmla="*/ 2849114 h 4571057"/>
                <a:gd name="connsiteX3" fmla="*/ 3484270 w 4382507"/>
                <a:gd name="connsiteY3" fmla="*/ 3687382 h 4571057"/>
                <a:gd name="connsiteX4" fmla="*/ 4382507 w 4382507"/>
                <a:gd name="connsiteY4" fmla="*/ 3541255 h 4571057"/>
                <a:gd name="connsiteX5" fmla="*/ 4382507 w 4382507"/>
                <a:gd name="connsiteY5" fmla="*/ 4571057 h 4571057"/>
                <a:gd name="connsiteX6" fmla="*/ 304272 w 4382507"/>
                <a:gd name="connsiteY6" fmla="*/ 4571057 h 4571057"/>
                <a:gd name="connsiteX7" fmla="*/ 0 w 4382507"/>
                <a:gd name="connsiteY7" fmla="*/ 4196530 h 4571057"/>
                <a:gd name="connsiteX8" fmla="*/ 1397515 w 4382507"/>
                <a:gd name="connsiteY8" fmla="*/ 474048 h 4571057"/>
                <a:gd name="connsiteX9" fmla="*/ 4382507 w 4382507"/>
                <a:gd name="connsiteY9" fmla="*/ 0 h 4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2507" h="4571057">
                  <a:moveTo>
                    <a:pt x="4382507" y="0"/>
                  </a:moveTo>
                  <a:lnTo>
                    <a:pt x="4382507" y="2755449"/>
                  </a:lnTo>
                  <a:lnTo>
                    <a:pt x="3801694" y="2849114"/>
                  </a:lnTo>
                  <a:lnTo>
                    <a:pt x="3484270" y="3687382"/>
                  </a:lnTo>
                  <a:lnTo>
                    <a:pt x="4382507" y="3541255"/>
                  </a:lnTo>
                  <a:lnTo>
                    <a:pt x="4382507" y="4571057"/>
                  </a:lnTo>
                  <a:lnTo>
                    <a:pt x="304272" y="4571057"/>
                  </a:lnTo>
                  <a:lnTo>
                    <a:pt x="0" y="4196530"/>
                  </a:lnTo>
                  <a:lnTo>
                    <a:pt x="1397515" y="474048"/>
                  </a:lnTo>
                  <a:lnTo>
                    <a:pt x="4382507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2C83A872-CA8B-4D60-A189-DDCE6CF43C9E}"/>
              </a:ext>
            </a:extLst>
          </p:cNvPr>
          <p:cNvSpPr/>
          <p:nvPr userDrawn="1"/>
        </p:nvSpPr>
        <p:spPr>
          <a:xfrm>
            <a:off x="7809493" y="2286943"/>
            <a:ext cx="4382507" cy="4571057"/>
          </a:xfrm>
          <a:custGeom>
            <a:avLst/>
            <a:gdLst>
              <a:gd name="connsiteX0" fmla="*/ 4382507 w 4382507"/>
              <a:gd name="connsiteY0" fmla="*/ 0 h 4571057"/>
              <a:gd name="connsiteX1" fmla="*/ 4382507 w 4382507"/>
              <a:gd name="connsiteY1" fmla="*/ 2755449 h 4571057"/>
              <a:gd name="connsiteX2" fmla="*/ 3801694 w 4382507"/>
              <a:gd name="connsiteY2" fmla="*/ 2849114 h 4571057"/>
              <a:gd name="connsiteX3" fmla="*/ 3484270 w 4382507"/>
              <a:gd name="connsiteY3" fmla="*/ 3687382 h 4571057"/>
              <a:gd name="connsiteX4" fmla="*/ 4382507 w 4382507"/>
              <a:gd name="connsiteY4" fmla="*/ 3541255 h 4571057"/>
              <a:gd name="connsiteX5" fmla="*/ 4382507 w 4382507"/>
              <a:gd name="connsiteY5" fmla="*/ 4571057 h 4571057"/>
              <a:gd name="connsiteX6" fmla="*/ 304272 w 4382507"/>
              <a:gd name="connsiteY6" fmla="*/ 4571057 h 4571057"/>
              <a:gd name="connsiteX7" fmla="*/ 0 w 4382507"/>
              <a:gd name="connsiteY7" fmla="*/ 4196530 h 4571057"/>
              <a:gd name="connsiteX8" fmla="*/ 1397515 w 4382507"/>
              <a:gd name="connsiteY8" fmla="*/ 474048 h 4571057"/>
              <a:gd name="connsiteX9" fmla="*/ 4382507 w 4382507"/>
              <a:gd name="connsiteY9" fmla="*/ 0 h 4571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82507" h="4571057">
                <a:moveTo>
                  <a:pt x="4382507" y="0"/>
                </a:moveTo>
                <a:lnTo>
                  <a:pt x="4382507" y="2755449"/>
                </a:lnTo>
                <a:lnTo>
                  <a:pt x="3801694" y="2849114"/>
                </a:lnTo>
                <a:lnTo>
                  <a:pt x="3484270" y="3687382"/>
                </a:lnTo>
                <a:lnTo>
                  <a:pt x="4382507" y="3541255"/>
                </a:lnTo>
                <a:lnTo>
                  <a:pt x="4382507" y="4571057"/>
                </a:lnTo>
                <a:lnTo>
                  <a:pt x="304272" y="4571057"/>
                </a:lnTo>
                <a:lnTo>
                  <a:pt x="0" y="4196530"/>
                </a:lnTo>
                <a:lnTo>
                  <a:pt x="1397515" y="474048"/>
                </a:lnTo>
                <a:lnTo>
                  <a:pt x="4382507" y="0"/>
                </a:lnTo>
                <a:close/>
              </a:path>
            </a:pathLst>
          </a:custGeom>
          <a:solidFill>
            <a:schemeClr val="bg2"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DFEF7AB-D202-411C-88E8-EE2C07650B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9765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r Graphic &amp;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6F2220D-D049-431F-AE4C-66F06B49D14E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DD92F5C-AA83-4505-B194-3EB6A01DC91C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4" name="Arrow: Pentagon 3">
              <a:extLst>
                <a:ext uri="{FF2B5EF4-FFF2-40B4-BE49-F238E27FC236}">
                  <a16:creationId xmlns:a16="http://schemas.microsoft.com/office/drawing/2014/main" id="{AD96E9CE-0E6C-4361-B959-D892AE199199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49522EDF-6B64-40DC-AF8F-1193DB30E268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446C2A21-3B85-4654-B356-193FF4A73DE5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F504655-6790-490E-BA0D-242ED3E5FA88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6E483918-9EBB-4FAD-A165-6274601D3246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47A04C62-89DA-486D-AA08-D9D25B318A53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EBF904B-CA77-4E86-A6A3-73D2F703B031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398F40EF-3684-48DD-8AD8-A4F0503C5C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pic>
        <p:nvPicPr>
          <p:cNvPr id="82" name="Graphic 81">
            <a:extLst>
              <a:ext uri="{FF2B5EF4-FFF2-40B4-BE49-F238E27FC236}">
                <a16:creationId xmlns:a16="http://schemas.microsoft.com/office/drawing/2014/main" id="{D97F8D3A-F5B1-4A3A-9B14-E82F2CDEAB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2919"/>
          <a:stretch/>
        </p:blipFill>
        <p:spPr>
          <a:xfrm>
            <a:off x="11030374" y="2887980"/>
            <a:ext cx="1161626" cy="2270760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D39170-48C3-4960-8251-B18662DAF53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3905" y="1648460"/>
            <a:ext cx="7096125" cy="4572000"/>
          </a:xfrm>
          <a:solidFill>
            <a:schemeClr val="bg1">
              <a:lumMod val="95000"/>
            </a:schemeClr>
          </a:solidFill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645920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DFBEEA6F-668D-442E-A0D4-9939E1D82CB5}"/>
              </a:ext>
            </a:extLst>
          </p:cNvPr>
          <p:cNvSpPr/>
          <p:nvPr userDrawn="1"/>
        </p:nvSpPr>
        <p:spPr>
          <a:xfrm>
            <a:off x="4573905" y="1465962"/>
            <a:ext cx="5252910" cy="24257"/>
          </a:xfrm>
          <a:custGeom>
            <a:avLst/>
            <a:gdLst>
              <a:gd name="connsiteX0" fmla="*/ 5252910 w 5252910"/>
              <a:gd name="connsiteY0" fmla="*/ 24257 h 24257"/>
              <a:gd name="connsiteX1" fmla="*/ 4848860 w 5252910"/>
              <a:gd name="connsiteY1" fmla="*/ 24257 h 24257"/>
              <a:gd name="connsiteX2" fmla="*/ 4848860 w 5252910"/>
              <a:gd name="connsiteY2" fmla="*/ 0 h 24257"/>
              <a:gd name="connsiteX3" fmla="*/ 5252910 w 5252910"/>
              <a:gd name="connsiteY3" fmla="*/ 0 h 24257"/>
              <a:gd name="connsiteX4" fmla="*/ 5252910 w 5252910"/>
              <a:gd name="connsiteY4" fmla="*/ 24257 h 24257"/>
              <a:gd name="connsiteX5" fmla="*/ 4444746 w 5252910"/>
              <a:gd name="connsiteY5" fmla="*/ 24257 h 24257"/>
              <a:gd name="connsiteX6" fmla="*/ 4040696 w 5252910"/>
              <a:gd name="connsiteY6" fmla="*/ 24257 h 24257"/>
              <a:gd name="connsiteX7" fmla="*/ 4040696 w 5252910"/>
              <a:gd name="connsiteY7" fmla="*/ 0 h 24257"/>
              <a:gd name="connsiteX8" fmla="*/ 4444746 w 5252910"/>
              <a:gd name="connsiteY8" fmla="*/ 0 h 24257"/>
              <a:gd name="connsiteX9" fmla="*/ 4444746 w 5252910"/>
              <a:gd name="connsiteY9" fmla="*/ 24257 h 24257"/>
              <a:gd name="connsiteX10" fmla="*/ 3636645 w 5252910"/>
              <a:gd name="connsiteY10" fmla="*/ 24257 h 24257"/>
              <a:gd name="connsiteX11" fmla="*/ 3232594 w 5252910"/>
              <a:gd name="connsiteY11" fmla="*/ 24257 h 24257"/>
              <a:gd name="connsiteX12" fmla="*/ 3232594 w 5252910"/>
              <a:gd name="connsiteY12" fmla="*/ 0 h 24257"/>
              <a:gd name="connsiteX13" fmla="*/ 3636645 w 5252910"/>
              <a:gd name="connsiteY13" fmla="*/ 0 h 24257"/>
              <a:gd name="connsiteX14" fmla="*/ 3636645 w 5252910"/>
              <a:gd name="connsiteY14" fmla="*/ 24257 h 24257"/>
              <a:gd name="connsiteX15" fmla="*/ 2828481 w 5252910"/>
              <a:gd name="connsiteY15" fmla="*/ 24257 h 24257"/>
              <a:gd name="connsiteX16" fmla="*/ 2424430 w 5252910"/>
              <a:gd name="connsiteY16" fmla="*/ 24257 h 24257"/>
              <a:gd name="connsiteX17" fmla="*/ 2424430 w 5252910"/>
              <a:gd name="connsiteY17" fmla="*/ 0 h 24257"/>
              <a:gd name="connsiteX18" fmla="*/ 2828481 w 5252910"/>
              <a:gd name="connsiteY18" fmla="*/ 0 h 24257"/>
              <a:gd name="connsiteX19" fmla="*/ 2828481 w 5252910"/>
              <a:gd name="connsiteY19" fmla="*/ 24257 h 24257"/>
              <a:gd name="connsiteX20" fmla="*/ 2020316 w 5252910"/>
              <a:gd name="connsiteY20" fmla="*/ 24257 h 24257"/>
              <a:gd name="connsiteX21" fmla="*/ 1616266 w 5252910"/>
              <a:gd name="connsiteY21" fmla="*/ 24257 h 24257"/>
              <a:gd name="connsiteX22" fmla="*/ 1616266 w 5252910"/>
              <a:gd name="connsiteY22" fmla="*/ 0 h 24257"/>
              <a:gd name="connsiteX23" fmla="*/ 2020316 w 5252910"/>
              <a:gd name="connsiteY23" fmla="*/ 0 h 24257"/>
              <a:gd name="connsiteX24" fmla="*/ 2020316 w 5252910"/>
              <a:gd name="connsiteY24" fmla="*/ 24257 h 24257"/>
              <a:gd name="connsiteX25" fmla="*/ 1212215 w 5252910"/>
              <a:gd name="connsiteY25" fmla="*/ 24257 h 24257"/>
              <a:gd name="connsiteX26" fmla="*/ 808164 w 5252910"/>
              <a:gd name="connsiteY26" fmla="*/ 24257 h 24257"/>
              <a:gd name="connsiteX27" fmla="*/ 808164 w 5252910"/>
              <a:gd name="connsiteY27" fmla="*/ 0 h 24257"/>
              <a:gd name="connsiteX28" fmla="*/ 1212215 w 5252910"/>
              <a:gd name="connsiteY28" fmla="*/ 0 h 24257"/>
              <a:gd name="connsiteX29" fmla="*/ 1212215 w 5252910"/>
              <a:gd name="connsiteY29" fmla="*/ 24257 h 24257"/>
              <a:gd name="connsiteX30" fmla="*/ 404051 w 5252910"/>
              <a:gd name="connsiteY30" fmla="*/ 24257 h 24257"/>
              <a:gd name="connsiteX31" fmla="*/ 0 w 5252910"/>
              <a:gd name="connsiteY31" fmla="*/ 24257 h 24257"/>
              <a:gd name="connsiteX32" fmla="*/ 0 w 5252910"/>
              <a:gd name="connsiteY32" fmla="*/ 0 h 24257"/>
              <a:gd name="connsiteX33" fmla="*/ 404051 w 5252910"/>
              <a:gd name="connsiteY33" fmla="*/ 0 h 24257"/>
              <a:gd name="connsiteX34" fmla="*/ 404051 w 5252910"/>
              <a:gd name="connsiteY34" fmla="*/ 24257 h 24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252910" h="24257">
                <a:moveTo>
                  <a:pt x="5252910" y="24257"/>
                </a:moveTo>
                <a:lnTo>
                  <a:pt x="4848860" y="24257"/>
                </a:lnTo>
                <a:lnTo>
                  <a:pt x="4848860" y="0"/>
                </a:lnTo>
                <a:lnTo>
                  <a:pt x="5252910" y="0"/>
                </a:lnTo>
                <a:lnTo>
                  <a:pt x="5252910" y="24257"/>
                </a:lnTo>
                <a:close/>
                <a:moveTo>
                  <a:pt x="4444746" y="24257"/>
                </a:moveTo>
                <a:lnTo>
                  <a:pt x="4040696" y="24257"/>
                </a:lnTo>
                <a:lnTo>
                  <a:pt x="4040696" y="0"/>
                </a:lnTo>
                <a:lnTo>
                  <a:pt x="4444746" y="0"/>
                </a:lnTo>
                <a:lnTo>
                  <a:pt x="4444746" y="24257"/>
                </a:lnTo>
                <a:close/>
                <a:moveTo>
                  <a:pt x="3636645" y="24257"/>
                </a:moveTo>
                <a:lnTo>
                  <a:pt x="3232594" y="24257"/>
                </a:lnTo>
                <a:lnTo>
                  <a:pt x="3232594" y="0"/>
                </a:lnTo>
                <a:lnTo>
                  <a:pt x="3636645" y="0"/>
                </a:lnTo>
                <a:lnTo>
                  <a:pt x="3636645" y="24257"/>
                </a:lnTo>
                <a:close/>
                <a:moveTo>
                  <a:pt x="2828481" y="24257"/>
                </a:moveTo>
                <a:lnTo>
                  <a:pt x="2424430" y="24257"/>
                </a:lnTo>
                <a:lnTo>
                  <a:pt x="2424430" y="0"/>
                </a:lnTo>
                <a:lnTo>
                  <a:pt x="2828481" y="0"/>
                </a:lnTo>
                <a:lnTo>
                  <a:pt x="2828481" y="24257"/>
                </a:lnTo>
                <a:close/>
                <a:moveTo>
                  <a:pt x="2020316" y="24257"/>
                </a:moveTo>
                <a:lnTo>
                  <a:pt x="1616266" y="24257"/>
                </a:lnTo>
                <a:lnTo>
                  <a:pt x="1616266" y="0"/>
                </a:lnTo>
                <a:lnTo>
                  <a:pt x="2020316" y="0"/>
                </a:lnTo>
                <a:lnTo>
                  <a:pt x="2020316" y="24257"/>
                </a:lnTo>
                <a:close/>
                <a:moveTo>
                  <a:pt x="1212215" y="24257"/>
                </a:moveTo>
                <a:lnTo>
                  <a:pt x="808164" y="24257"/>
                </a:lnTo>
                <a:lnTo>
                  <a:pt x="808164" y="0"/>
                </a:lnTo>
                <a:lnTo>
                  <a:pt x="1212215" y="0"/>
                </a:lnTo>
                <a:lnTo>
                  <a:pt x="1212215" y="24257"/>
                </a:lnTo>
                <a:close/>
                <a:moveTo>
                  <a:pt x="404051" y="24257"/>
                </a:moveTo>
                <a:lnTo>
                  <a:pt x="0" y="24257"/>
                </a:lnTo>
                <a:lnTo>
                  <a:pt x="0" y="0"/>
                </a:lnTo>
                <a:lnTo>
                  <a:pt x="404051" y="0"/>
                </a:lnTo>
                <a:lnTo>
                  <a:pt x="404051" y="24257"/>
                </a:lnTo>
                <a:close/>
              </a:path>
            </a:pathLst>
          </a:custGeom>
          <a:solidFill>
            <a:srgbClr val="6FBE4A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grpSp>
        <p:nvGrpSpPr>
          <p:cNvPr id="17" name="Graphic 42">
            <a:extLst>
              <a:ext uri="{FF2B5EF4-FFF2-40B4-BE49-F238E27FC236}">
                <a16:creationId xmlns:a16="http://schemas.microsoft.com/office/drawing/2014/main" id="{4462BEFA-F6BE-408A-8CBD-DDC5B03EF6CF}"/>
              </a:ext>
            </a:extLst>
          </p:cNvPr>
          <p:cNvGrpSpPr/>
          <p:nvPr userDrawn="1"/>
        </p:nvGrpSpPr>
        <p:grpSpPr>
          <a:xfrm>
            <a:off x="5040122" y="1453579"/>
            <a:ext cx="4312158" cy="55752"/>
            <a:chOff x="1962277" y="6465887"/>
            <a:chExt cx="4312158" cy="55752"/>
          </a:xfrm>
          <a:solidFill>
            <a:srgbClr val="B3B3B3"/>
          </a:solidFill>
        </p:grpSpPr>
        <p:grpSp>
          <p:nvGrpSpPr>
            <p:cNvPr id="18" name="Graphic 42">
              <a:extLst>
                <a:ext uri="{FF2B5EF4-FFF2-40B4-BE49-F238E27FC236}">
                  <a16:creationId xmlns:a16="http://schemas.microsoft.com/office/drawing/2014/main" id="{6C414D36-83CA-494E-90F0-B5BB4912F8F4}"/>
                </a:ext>
              </a:extLst>
            </p:cNvPr>
            <p:cNvGrpSpPr/>
            <p:nvPr/>
          </p:nvGrpSpPr>
          <p:grpSpPr>
            <a:xfrm>
              <a:off x="1962277" y="6465887"/>
              <a:ext cx="275081" cy="55752"/>
              <a:chOff x="1962277" y="6465887"/>
              <a:chExt cx="275081" cy="55752"/>
            </a:xfrm>
            <a:solidFill>
              <a:srgbClr val="B3B3B3"/>
            </a:solidFill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F12D98FB-8347-49AC-981B-0836C07DF466}"/>
                  </a:ext>
                </a:extLst>
              </p:cNvPr>
              <p:cNvSpPr/>
              <p:nvPr/>
            </p:nvSpPr>
            <p:spPr>
              <a:xfrm>
                <a:off x="222929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25515A06-384F-4412-B81B-CC4CC0CA36F9}"/>
                  </a:ext>
                </a:extLst>
              </p:cNvPr>
              <p:cNvSpPr/>
              <p:nvPr/>
            </p:nvSpPr>
            <p:spPr>
              <a:xfrm>
                <a:off x="21330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FD3D9B1C-CA80-4F23-B321-AF615A9E00C6}"/>
                  </a:ext>
                </a:extLst>
              </p:cNvPr>
              <p:cNvSpPr/>
              <p:nvPr/>
            </p:nvSpPr>
            <p:spPr>
              <a:xfrm>
                <a:off x="204952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A61D8D8A-1848-4FF2-A8B9-EAA9E4FA6C9A}"/>
                  </a:ext>
                </a:extLst>
              </p:cNvPr>
              <p:cNvSpPr/>
              <p:nvPr/>
            </p:nvSpPr>
            <p:spPr>
              <a:xfrm>
                <a:off x="196227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9" name="Graphic 42">
              <a:extLst>
                <a:ext uri="{FF2B5EF4-FFF2-40B4-BE49-F238E27FC236}">
                  <a16:creationId xmlns:a16="http://schemas.microsoft.com/office/drawing/2014/main" id="{C8188640-B60E-4D12-8195-2CC09242B9F0}"/>
                </a:ext>
              </a:extLst>
            </p:cNvPr>
            <p:cNvGrpSpPr/>
            <p:nvPr/>
          </p:nvGrpSpPr>
          <p:grpSpPr>
            <a:xfrm>
              <a:off x="2767584" y="6465887"/>
              <a:ext cx="275081" cy="55752"/>
              <a:chOff x="2767584" y="6465887"/>
              <a:chExt cx="275081" cy="55752"/>
            </a:xfrm>
            <a:solidFill>
              <a:srgbClr val="B3B3B3"/>
            </a:solidFill>
          </p:grpSpPr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3AED701D-F446-4BF2-B9AB-AD1DE14D2221}"/>
                  </a:ext>
                </a:extLst>
              </p:cNvPr>
              <p:cNvSpPr/>
              <p:nvPr/>
            </p:nvSpPr>
            <p:spPr>
              <a:xfrm>
                <a:off x="303460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B786866A-0184-4A50-A38D-04AD7C97E460}"/>
                  </a:ext>
                </a:extLst>
              </p:cNvPr>
              <p:cNvSpPr/>
              <p:nvPr/>
            </p:nvSpPr>
            <p:spPr>
              <a:xfrm>
                <a:off x="293839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22873B01-F29B-447F-8CA9-90773F021047}"/>
                  </a:ext>
                </a:extLst>
              </p:cNvPr>
              <p:cNvSpPr/>
              <p:nvPr/>
            </p:nvSpPr>
            <p:spPr>
              <a:xfrm>
                <a:off x="285483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39C3C78D-917D-49A6-9DA1-0AAD733B0081}"/>
                  </a:ext>
                </a:extLst>
              </p:cNvPr>
              <p:cNvSpPr/>
              <p:nvPr/>
            </p:nvSpPr>
            <p:spPr>
              <a:xfrm>
                <a:off x="276758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aphic 42">
              <a:extLst>
                <a:ext uri="{FF2B5EF4-FFF2-40B4-BE49-F238E27FC236}">
                  <a16:creationId xmlns:a16="http://schemas.microsoft.com/office/drawing/2014/main" id="{0B318879-5799-428C-8F50-C87E1AAE34F9}"/>
                </a:ext>
              </a:extLst>
            </p:cNvPr>
            <p:cNvGrpSpPr/>
            <p:nvPr/>
          </p:nvGrpSpPr>
          <p:grpSpPr>
            <a:xfrm>
              <a:off x="3592067" y="6465887"/>
              <a:ext cx="275082" cy="55752"/>
              <a:chOff x="3592067" y="6465887"/>
              <a:chExt cx="275082" cy="55752"/>
            </a:xfrm>
            <a:solidFill>
              <a:srgbClr val="B3B3B3"/>
            </a:solidFill>
          </p:grpSpPr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12315CF7-1D26-45D3-8980-950C19FCA779}"/>
                  </a:ext>
                </a:extLst>
              </p:cNvPr>
              <p:cNvSpPr/>
              <p:nvPr/>
            </p:nvSpPr>
            <p:spPr>
              <a:xfrm>
                <a:off x="385908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75582EA7-D6B9-4B06-81FC-45EFF0D7FA1D}"/>
                  </a:ext>
                </a:extLst>
              </p:cNvPr>
              <p:cNvSpPr/>
              <p:nvPr/>
            </p:nvSpPr>
            <p:spPr>
              <a:xfrm>
                <a:off x="376288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4B32FF40-DA0D-43AF-9E1F-7F90B039619E}"/>
                  </a:ext>
                </a:extLst>
              </p:cNvPr>
              <p:cNvSpPr/>
              <p:nvPr/>
            </p:nvSpPr>
            <p:spPr>
              <a:xfrm>
                <a:off x="367931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65F385E7-62A0-4424-AA68-EC3AC5D492B0}"/>
                  </a:ext>
                </a:extLst>
              </p:cNvPr>
              <p:cNvSpPr/>
              <p:nvPr/>
            </p:nvSpPr>
            <p:spPr>
              <a:xfrm>
                <a:off x="359206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aphic 42">
              <a:extLst>
                <a:ext uri="{FF2B5EF4-FFF2-40B4-BE49-F238E27FC236}">
                  <a16:creationId xmlns:a16="http://schemas.microsoft.com/office/drawing/2014/main" id="{3423C752-5534-4E66-A865-C988809C1E01}"/>
                </a:ext>
              </a:extLst>
            </p:cNvPr>
            <p:cNvGrpSpPr/>
            <p:nvPr/>
          </p:nvGrpSpPr>
          <p:grpSpPr>
            <a:xfrm>
              <a:off x="4397375" y="6465887"/>
              <a:ext cx="275081" cy="55752"/>
              <a:chOff x="4397375" y="6465887"/>
              <a:chExt cx="275081" cy="55752"/>
            </a:xfrm>
            <a:solidFill>
              <a:srgbClr val="B3B3B3"/>
            </a:solidFill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6ADF341-7B9D-4DD8-9CA6-565A61A1D9F0}"/>
                  </a:ext>
                </a:extLst>
              </p:cNvPr>
              <p:cNvSpPr/>
              <p:nvPr/>
            </p:nvSpPr>
            <p:spPr>
              <a:xfrm>
                <a:off x="46643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583D26D-856C-4A77-AE0D-3BA42CE1E584}"/>
                  </a:ext>
                </a:extLst>
              </p:cNvPr>
              <p:cNvSpPr/>
              <p:nvPr/>
            </p:nvSpPr>
            <p:spPr>
              <a:xfrm>
                <a:off x="456819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AEFB025-6C70-433A-A300-828C72698CA9}"/>
                  </a:ext>
                </a:extLst>
              </p:cNvPr>
              <p:cNvSpPr/>
              <p:nvPr/>
            </p:nvSpPr>
            <p:spPr>
              <a:xfrm>
                <a:off x="448462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1D62E97-9E08-4764-8431-00935A47F3A0}"/>
                  </a:ext>
                </a:extLst>
              </p:cNvPr>
              <p:cNvSpPr/>
              <p:nvPr/>
            </p:nvSpPr>
            <p:spPr>
              <a:xfrm>
                <a:off x="439737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Graphic 42">
              <a:extLst>
                <a:ext uri="{FF2B5EF4-FFF2-40B4-BE49-F238E27FC236}">
                  <a16:creationId xmlns:a16="http://schemas.microsoft.com/office/drawing/2014/main" id="{B5A71B70-4F7E-4F2D-B1E9-AA29844C693D}"/>
                </a:ext>
              </a:extLst>
            </p:cNvPr>
            <p:cNvGrpSpPr/>
            <p:nvPr/>
          </p:nvGrpSpPr>
          <p:grpSpPr>
            <a:xfrm>
              <a:off x="5193982" y="6465887"/>
              <a:ext cx="275081" cy="55752"/>
              <a:chOff x="5193982" y="6465887"/>
              <a:chExt cx="275081" cy="55752"/>
            </a:xfrm>
            <a:solidFill>
              <a:srgbClr val="B3B3B3"/>
            </a:solidFill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5C4D2D9B-3546-4854-9EF0-91DA8B5D343A}"/>
                  </a:ext>
                </a:extLst>
              </p:cNvPr>
              <p:cNvSpPr/>
              <p:nvPr/>
            </p:nvSpPr>
            <p:spPr>
              <a:xfrm>
                <a:off x="546100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ACC2168-473F-4DD8-9CCA-AC07604162E4}"/>
                  </a:ext>
                </a:extLst>
              </p:cNvPr>
              <p:cNvSpPr/>
              <p:nvPr/>
            </p:nvSpPr>
            <p:spPr>
              <a:xfrm>
                <a:off x="536486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0676C98-9672-4F1C-B76D-533DC9DC61E9}"/>
                  </a:ext>
                </a:extLst>
              </p:cNvPr>
              <p:cNvSpPr/>
              <p:nvPr/>
            </p:nvSpPr>
            <p:spPr>
              <a:xfrm>
                <a:off x="528123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67CC653-46C7-4F44-8FF4-0AABDEBC12E7}"/>
                  </a:ext>
                </a:extLst>
              </p:cNvPr>
              <p:cNvSpPr/>
              <p:nvPr/>
            </p:nvSpPr>
            <p:spPr>
              <a:xfrm>
                <a:off x="519398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aphic 42">
              <a:extLst>
                <a:ext uri="{FF2B5EF4-FFF2-40B4-BE49-F238E27FC236}">
                  <a16:creationId xmlns:a16="http://schemas.microsoft.com/office/drawing/2014/main" id="{2A1F82DF-03D9-444E-8317-8BEACA4F8E1E}"/>
                </a:ext>
              </a:extLst>
            </p:cNvPr>
            <p:cNvGrpSpPr/>
            <p:nvPr/>
          </p:nvGrpSpPr>
          <p:grpSpPr>
            <a:xfrm>
              <a:off x="5999289" y="6465887"/>
              <a:ext cx="275145" cy="55752"/>
              <a:chOff x="5999289" y="6465887"/>
              <a:chExt cx="275145" cy="55752"/>
            </a:xfrm>
            <a:solidFill>
              <a:srgbClr val="B3B3B3"/>
            </a:solidFill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491F24D6-8119-44C1-93F2-E5109D171FA2}"/>
                  </a:ext>
                </a:extLst>
              </p:cNvPr>
              <p:cNvSpPr/>
              <p:nvPr/>
            </p:nvSpPr>
            <p:spPr>
              <a:xfrm>
                <a:off x="626637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C81EC1E3-3540-4BE0-AD5A-51BA24740C03}"/>
                  </a:ext>
                </a:extLst>
              </p:cNvPr>
              <p:cNvSpPr/>
              <p:nvPr/>
            </p:nvSpPr>
            <p:spPr>
              <a:xfrm>
                <a:off x="617016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8EFC42F-F751-4EA6-8C7C-816A8DE27840}"/>
                  </a:ext>
                </a:extLst>
              </p:cNvPr>
              <p:cNvSpPr/>
              <p:nvPr/>
            </p:nvSpPr>
            <p:spPr>
              <a:xfrm>
                <a:off x="608653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27C191A6-C627-4504-AFFA-3E1CD488F910}"/>
                  </a:ext>
                </a:extLst>
              </p:cNvPr>
              <p:cNvSpPr/>
              <p:nvPr/>
            </p:nvSpPr>
            <p:spPr>
              <a:xfrm>
                <a:off x="599928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95075E11-C95B-43F7-AE58-F819F4432F94}"/>
              </a:ext>
            </a:extLst>
          </p:cNvPr>
          <p:cNvSpPr/>
          <p:nvPr userDrawn="1"/>
        </p:nvSpPr>
        <p:spPr>
          <a:xfrm>
            <a:off x="4558698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7942 w 99631"/>
              <a:gd name="connsiteY1" fmla="*/ 0 h 161861"/>
              <a:gd name="connsiteX2" fmla="*/ 99631 w 99631"/>
              <a:gd name="connsiteY2" fmla="*/ 80962 h 161861"/>
              <a:gd name="connsiteX3" fmla="*/ 47942 w 99631"/>
              <a:gd name="connsiteY3" fmla="*/ 161862 h 161861"/>
              <a:gd name="connsiteX4" fmla="*/ 0 w 99631"/>
              <a:gd name="connsiteY4" fmla="*/ 161862 h 161861"/>
              <a:gd name="connsiteX5" fmla="*/ 51626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7942" y="0"/>
                </a:lnTo>
                <a:lnTo>
                  <a:pt x="99631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E7C06D70-7E3E-4D15-B6B1-EAF35FBF771C}"/>
              </a:ext>
            </a:extLst>
          </p:cNvPr>
          <p:cNvSpPr/>
          <p:nvPr userDrawn="1"/>
        </p:nvSpPr>
        <p:spPr>
          <a:xfrm>
            <a:off x="4628548" y="6297424"/>
            <a:ext cx="99567" cy="161861"/>
          </a:xfrm>
          <a:custGeom>
            <a:avLst/>
            <a:gdLst>
              <a:gd name="connsiteX0" fmla="*/ 0 w 99567"/>
              <a:gd name="connsiteY0" fmla="*/ 0 h 161861"/>
              <a:gd name="connsiteX1" fmla="*/ 47942 w 99567"/>
              <a:gd name="connsiteY1" fmla="*/ 0 h 161861"/>
              <a:gd name="connsiteX2" fmla="*/ 99568 w 99567"/>
              <a:gd name="connsiteY2" fmla="*/ 80962 h 161861"/>
              <a:gd name="connsiteX3" fmla="*/ 47942 w 99567"/>
              <a:gd name="connsiteY3" fmla="*/ 161862 h 161861"/>
              <a:gd name="connsiteX4" fmla="*/ 0 w 99567"/>
              <a:gd name="connsiteY4" fmla="*/ 161862 h 161861"/>
              <a:gd name="connsiteX5" fmla="*/ 51626 w 99567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567" h="161861">
                <a:moveTo>
                  <a:pt x="0" y="0"/>
                </a:moveTo>
                <a:lnTo>
                  <a:pt x="47942" y="0"/>
                </a:lnTo>
                <a:lnTo>
                  <a:pt x="99568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2560CFA8-8666-401D-B91D-47D7B7FABCCC}"/>
              </a:ext>
            </a:extLst>
          </p:cNvPr>
          <p:cNvSpPr/>
          <p:nvPr userDrawn="1"/>
        </p:nvSpPr>
        <p:spPr>
          <a:xfrm>
            <a:off x="4697001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8006 w 99631"/>
              <a:gd name="connsiteY1" fmla="*/ 0 h 161861"/>
              <a:gd name="connsiteX2" fmla="*/ 99631 w 99631"/>
              <a:gd name="connsiteY2" fmla="*/ 80962 h 161861"/>
              <a:gd name="connsiteX3" fmla="*/ 48006 w 99631"/>
              <a:gd name="connsiteY3" fmla="*/ 161862 h 161861"/>
              <a:gd name="connsiteX4" fmla="*/ 0 w 99631"/>
              <a:gd name="connsiteY4" fmla="*/ 161862 h 161861"/>
              <a:gd name="connsiteX5" fmla="*/ 51625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8006" y="0"/>
                </a:lnTo>
                <a:lnTo>
                  <a:pt x="99631" y="80962"/>
                </a:lnTo>
                <a:lnTo>
                  <a:pt x="48006" y="161862"/>
                </a:lnTo>
                <a:lnTo>
                  <a:pt x="0" y="161862"/>
                </a:lnTo>
                <a:lnTo>
                  <a:pt x="51625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E68E1B68-9A85-4371-8C00-E6C787C594B2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62318" y="1872616"/>
            <a:ext cx="3055937" cy="40386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lang="en-US" dirty="0" smtClean="0"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8"/>
              </a:buBlip>
              <a:defRPr lang="en-US" dirty="0">
                <a:solidFill>
                  <a:schemeClr val="bg1"/>
                </a:solidFill>
              </a:defRPr>
            </a:lvl4pPr>
            <a:lvl5pPr marL="1104138" indent="0">
              <a:buNone/>
              <a:defRPr/>
            </a:lvl5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</p:spTree>
    <p:extLst>
      <p:ext uri="{BB962C8B-B14F-4D97-AF65-F5344CB8AC3E}">
        <p14:creationId xmlns:p14="http://schemas.microsoft.com/office/powerpoint/2010/main" val="1331320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BA33D38-FF79-4659-BC13-5AED39062B0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524" y="0"/>
            <a:ext cx="12188952" cy="5208644"/>
          </a:xfrm>
          <a:custGeom>
            <a:avLst/>
            <a:gdLst>
              <a:gd name="connsiteX0" fmla="*/ 0 w 12188952"/>
              <a:gd name="connsiteY0" fmla="*/ 0 h 5195944"/>
              <a:gd name="connsiteX1" fmla="*/ 12188952 w 12188952"/>
              <a:gd name="connsiteY1" fmla="*/ 0 h 5195944"/>
              <a:gd name="connsiteX2" fmla="*/ 12188952 w 12188952"/>
              <a:gd name="connsiteY2" fmla="*/ 5195944 h 5195944"/>
              <a:gd name="connsiteX3" fmla="*/ 2659341 w 12188952"/>
              <a:gd name="connsiteY3" fmla="*/ 5195944 h 5195944"/>
              <a:gd name="connsiteX4" fmla="*/ 2257812 w 12188952"/>
              <a:gd name="connsiteY4" fmla="*/ 4992786 h 5195944"/>
              <a:gd name="connsiteX5" fmla="*/ 0 w 12188952"/>
              <a:gd name="connsiteY5" fmla="*/ 4992786 h 519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88952" h="5195944">
                <a:moveTo>
                  <a:pt x="0" y="0"/>
                </a:moveTo>
                <a:lnTo>
                  <a:pt x="12188952" y="0"/>
                </a:lnTo>
                <a:lnTo>
                  <a:pt x="12188952" y="5195944"/>
                </a:lnTo>
                <a:lnTo>
                  <a:pt x="2659341" y="5195944"/>
                </a:lnTo>
                <a:lnTo>
                  <a:pt x="2257812" y="4992786"/>
                </a:lnTo>
                <a:lnTo>
                  <a:pt x="0" y="499278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640080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61473D3-D9B8-4ABB-B46F-2584ADD4252E}"/>
              </a:ext>
            </a:extLst>
          </p:cNvPr>
          <p:cNvSpPr/>
          <p:nvPr userDrawn="1"/>
        </p:nvSpPr>
        <p:spPr>
          <a:xfrm>
            <a:off x="3048" y="4992785"/>
            <a:ext cx="12201129" cy="1778523"/>
          </a:xfrm>
          <a:custGeom>
            <a:avLst/>
            <a:gdLst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0 h 1742130"/>
              <a:gd name="connsiteX6" fmla="*/ 12225528 w 12225528"/>
              <a:gd name="connsiteY6" fmla="*/ 1508582 h 1742130"/>
              <a:gd name="connsiteX7" fmla="*/ 9244676 w 12225528"/>
              <a:gd name="connsiteY7" fmla="*/ 1508582 h 1742130"/>
              <a:gd name="connsiteX8" fmla="*/ 8712452 w 12225528"/>
              <a:gd name="connsiteY8" fmla="*/ 1740686 h 1742130"/>
              <a:gd name="connsiteX9" fmla="*/ 8715763 w 12225528"/>
              <a:gd name="connsiteY9" fmla="*/ 1742130 h 1742130"/>
              <a:gd name="connsiteX10" fmla="*/ 0 w 12225528"/>
              <a:gd name="connsiteY10" fmla="*/ 174213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1508582 h 1742130"/>
              <a:gd name="connsiteX6" fmla="*/ 9244676 w 12225528"/>
              <a:gd name="connsiteY6" fmla="*/ 1508582 h 1742130"/>
              <a:gd name="connsiteX7" fmla="*/ 8712452 w 12225528"/>
              <a:gd name="connsiteY7" fmla="*/ 1740686 h 1742130"/>
              <a:gd name="connsiteX8" fmla="*/ 8715763 w 12225528"/>
              <a:gd name="connsiteY8" fmla="*/ 1742130 h 1742130"/>
              <a:gd name="connsiteX9" fmla="*/ 0 w 12225528"/>
              <a:gd name="connsiteY9" fmla="*/ 1742130 h 1742130"/>
              <a:gd name="connsiteX10" fmla="*/ 0 w 12225528"/>
              <a:gd name="connsiteY10" fmla="*/ 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225528 w 12225528"/>
              <a:gd name="connsiteY4" fmla="*/ 1508582 h 1742130"/>
              <a:gd name="connsiteX5" fmla="*/ 9244676 w 12225528"/>
              <a:gd name="connsiteY5" fmla="*/ 1508582 h 1742130"/>
              <a:gd name="connsiteX6" fmla="*/ 8712452 w 12225528"/>
              <a:gd name="connsiteY6" fmla="*/ 1740686 h 1742130"/>
              <a:gd name="connsiteX7" fmla="*/ 8715763 w 12225528"/>
              <a:gd name="connsiteY7" fmla="*/ 1742130 h 1742130"/>
              <a:gd name="connsiteX8" fmla="*/ 0 w 12225528"/>
              <a:gd name="connsiteY8" fmla="*/ 1742130 h 1742130"/>
              <a:gd name="connsiteX9" fmla="*/ 0 w 12225528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25528 w 12237742"/>
              <a:gd name="connsiteY4" fmla="*/ 1508582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8998407 w 12237742"/>
              <a:gd name="connsiteY5" fmla="*/ 1625525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130033 w 12237742"/>
              <a:gd name="connsiteY5" fmla="*/ 1621349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712452 w 12237742"/>
              <a:gd name="connsiteY6" fmla="*/ 1740686 h 1754660"/>
              <a:gd name="connsiteX7" fmla="*/ 8864374 w 12237742"/>
              <a:gd name="connsiteY7" fmla="*/ 1754660 h 1754660"/>
              <a:gd name="connsiteX8" fmla="*/ 0 w 12237742"/>
              <a:gd name="connsiteY8" fmla="*/ 1742130 h 1754660"/>
              <a:gd name="connsiteX9" fmla="*/ 0 w 12237742"/>
              <a:gd name="connsiteY9" fmla="*/ 0 h 175466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864374 w 12237742"/>
              <a:gd name="connsiteY6" fmla="*/ 1754660 h 1754660"/>
              <a:gd name="connsiteX7" fmla="*/ 0 w 12237742"/>
              <a:gd name="connsiteY7" fmla="*/ 1742130 h 1754660"/>
              <a:gd name="connsiteX8" fmla="*/ 0 w 12237742"/>
              <a:gd name="connsiteY8" fmla="*/ 0 h 175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37742" h="1754660">
                <a:moveTo>
                  <a:pt x="0" y="0"/>
                </a:moveTo>
                <a:lnTo>
                  <a:pt x="2261766" y="0"/>
                </a:lnTo>
                <a:lnTo>
                  <a:pt x="2669225" y="201008"/>
                </a:lnTo>
                <a:lnTo>
                  <a:pt x="12237742" y="201008"/>
                </a:lnTo>
                <a:cubicBezTo>
                  <a:pt x="12236501" y="675847"/>
                  <a:pt x="12235261" y="1150686"/>
                  <a:pt x="12234020" y="1625525"/>
                </a:cubicBezTo>
                <a:lnTo>
                  <a:pt x="9130033" y="1621349"/>
                </a:lnTo>
                <a:lnTo>
                  <a:pt x="8864374" y="1754660"/>
                </a:lnTo>
                <a:lnTo>
                  <a:pt x="0" y="174213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DF771BFD-33F4-4302-AE78-E4E13F567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6200000" flipH="1">
            <a:off x="953985" y="4422514"/>
            <a:ext cx="295205" cy="183211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E774EAE-5A9D-4928-87E1-FB117CF26F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5400000" flipH="1">
            <a:off x="10974163" y="5290916"/>
            <a:ext cx="295205" cy="1832111"/>
          </a:xfrm>
          <a:prstGeom prst="rect">
            <a:avLst/>
          </a:prstGeom>
        </p:spPr>
      </p:pic>
      <p:sp>
        <p:nvSpPr>
          <p:cNvPr id="10" name="Text Placeholder 2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001776" y="5574141"/>
            <a:ext cx="10541000" cy="60939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4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24C9CD7-8228-4D6A-93B4-D9B4CD2A2779}"/>
              </a:ext>
            </a:extLst>
          </p:cNvPr>
          <p:cNvSpPr/>
          <p:nvPr userDrawn="1"/>
        </p:nvSpPr>
        <p:spPr>
          <a:xfrm>
            <a:off x="0" y="6624535"/>
            <a:ext cx="12188952" cy="233465"/>
          </a:xfrm>
          <a:custGeom>
            <a:avLst/>
            <a:gdLst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695556 w 11969877"/>
              <a:gd name="connsiteY10" fmla="*/ 109891 h 233465"/>
              <a:gd name="connsiteX11" fmla="*/ 8949770 w 11969877"/>
              <a:gd name="connsiteY11" fmla="*/ 0 h 233465"/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708028 w 11969877"/>
              <a:gd name="connsiteY10" fmla="*/ 141641 h 233465"/>
              <a:gd name="connsiteX11" fmla="*/ 8949770 w 11969877"/>
              <a:gd name="connsiteY11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969877" h="233465">
                <a:moveTo>
                  <a:pt x="8949770" y="0"/>
                </a:moveTo>
                <a:lnTo>
                  <a:pt x="11969877" y="0"/>
                </a:lnTo>
                <a:lnTo>
                  <a:pt x="11969877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708028" y="14164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id="{D3794542-D2C7-432F-9113-2FE8B4A5528B}"/>
              </a:ext>
            </a:extLst>
          </p:cNvPr>
          <p:cNvSpPr>
            <a:spLocks noChangeAspect="1"/>
          </p:cNvSpPr>
          <p:nvPr userDrawn="1"/>
        </p:nvSpPr>
        <p:spPr>
          <a:xfrm>
            <a:off x="8585655" y="6620256"/>
            <a:ext cx="545655" cy="237744"/>
          </a:xfrm>
          <a:custGeom>
            <a:avLst/>
            <a:gdLst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5" fmla="*/ 19050 w 1790700"/>
              <a:gd name="connsiteY5" fmla="*/ 5715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0" fmla="*/ 0 w 1733550"/>
              <a:gd name="connsiteY0" fmla="*/ 0 h 3086100"/>
              <a:gd name="connsiteX1" fmla="*/ 1733550 w 1733550"/>
              <a:gd name="connsiteY1" fmla="*/ 3086100 h 3086100"/>
              <a:gd name="connsiteX2" fmla="*/ 613087 w 1733550"/>
              <a:gd name="connsiteY2" fmla="*/ 3077523 h 3086100"/>
              <a:gd name="connsiteX0" fmla="*/ 245654 w 1120463"/>
              <a:gd name="connsiteY0" fmla="*/ 0 h 1525705"/>
              <a:gd name="connsiteX1" fmla="*/ 1120463 w 1120463"/>
              <a:gd name="connsiteY1" fmla="*/ 1525705 h 1525705"/>
              <a:gd name="connsiteX2" fmla="*/ 0 w 1120463"/>
              <a:gd name="connsiteY2" fmla="*/ 1517128 h 1525705"/>
              <a:gd name="connsiteX0" fmla="*/ 811167 w 1120463"/>
              <a:gd name="connsiteY0" fmla="*/ 0 h 1211531"/>
              <a:gd name="connsiteX1" fmla="*/ 1120463 w 1120463"/>
              <a:gd name="connsiteY1" fmla="*/ 1211531 h 1211531"/>
              <a:gd name="connsiteX2" fmla="*/ 0 w 1120463"/>
              <a:gd name="connsiteY2" fmla="*/ 1202954 h 1211531"/>
              <a:gd name="connsiteX0" fmla="*/ 874002 w 1183298"/>
              <a:gd name="connsiteY0" fmla="*/ 0 h 1213426"/>
              <a:gd name="connsiteX1" fmla="*/ 1183298 w 1183298"/>
              <a:gd name="connsiteY1" fmla="*/ 1211531 h 1213426"/>
              <a:gd name="connsiteX2" fmla="*/ 0 w 1183298"/>
              <a:gd name="connsiteY2" fmla="*/ 1213426 h 1213426"/>
              <a:gd name="connsiteX0" fmla="*/ 857693 w 1166989"/>
              <a:gd name="connsiteY0" fmla="*/ 0 h 1213426"/>
              <a:gd name="connsiteX1" fmla="*/ 1166989 w 1166989"/>
              <a:gd name="connsiteY1" fmla="*/ 1211531 h 1213426"/>
              <a:gd name="connsiteX2" fmla="*/ 0 w 1166989"/>
              <a:gd name="connsiteY2" fmla="*/ 1213426 h 1213426"/>
              <a:gd name="connsiteX0" fmla="*/ 1062735 w 1166989"/>
              <a:gd name="connsiteY0" fmla="*/ 0 h 857667"/>
              <a:gd name="connsiteX1" fmla="*/ 1166989 w 1166989"/>
              <a:gd name="connsiteY1" fmla="*/ 855772 h 857667"/>
              <a:gd name="connsiteX2" fmla="*/ 0 w 1166989"/>
              <a:gd name="connsiteY2" fmla="*/ 857667 h 857667"/>
              <a:gd name="connsiteX0" fmla="*/ 1037104 w 1166989"/>
              <a:gd name="connsiteY0" fmla="*/ 0 h 928818"/>
              <a:gd name="connsiteX1" fmla="*/ 1166989 w 1166989"/>
              <a:gd name="connsiteY1" fmla="*/ 926923 h 928818"/>
              <a:gd name="connsiteX2" fmla="*/ 0 w 1166989"/>
              <a:gd name="connsiteY2" fmla="*/ 928818 h 928818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28818 h 962499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55031 h 962499"/>
              <a:gd name="connsiteX0" fmla="*/ 1046547 w 1046547"/>
              <a:gd name="connsiteY0" fmla="*/ 0 h 949391"/>
              <a:gd name="connsiteX1" fmla="*/ 791077 w 1046547"/>
              <a:gd name="connsiteY1" fmla="*/ 949391 h 949391"/>
              <a:gd name="connsiteX2" fmla="*/ 0 w 1046547"/>
              <a:gd name="connsiteY2" fmla="*/ 941923 h 949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6547" h="949391">
                <a:moveTo>
                  <a:pt x="1046547" y="0"/>
                </a:moveTo>
                <a:lnTo>
                  <a:pt x="791077" y="949391"/>
                </a:lnTo>
                <a:lnTo>
                  <a:pt x="0" y="941923"/>
                </a:lnTo>
              </a:path>
            </a:pathLst>
          </a:custGeom>
          <a:gradFill>
            <a:gsLst>
              <a:gs pos="35000">
                <a:srgbClr val="6CC04A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6020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992F3403-9E0E-4B63-A839-BDA384B8E3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48291" y="2733199"/>
            <a:ext cx="5120640" cy="281201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en-US" sz="1000" b="0" baseline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D43F86-E489-4FF1-B499-7BF132B537E4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8"/>
            <a:ext cx="5120640" cy="2818946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5A81C6-E459-47F8-BE7E-E79BDF03F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043761F-801C-479C-8752-C1BDEEBF98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A54E21F-0B44-4E38-ACAA-0FDCCCC540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482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63526DB-9535-4082-B91B-6B7BAEA14D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482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4810EA-6AC4-42A0-98B5-8E13D873B935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ACC0E3-5E84-4BB5-8DA2-7D1265BD1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36D3AC-79C7-4664-A1E8-BBAF473E80C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3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461550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734315CC-5450-4530-9C7C-C6329202BB8A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B534821-3EEB-4445-9BFD-DB59E8633C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32918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CC531C6F-4A51-422E-AAD3-66A97107E2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262960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6967C944-2E33-48AF-A92E-64B48BAE381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4568395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3C1D16A-B36B-4A37-80DC-56B397DB69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68396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62DDCE9-BA3F-487A-BE50-C548369692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68394" y="2262961"/>
            <a:ext cx="329184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82F5E967-4A83-4253-BD21-C1AF0745354A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8268299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75B09AD7-1999-496D-94CA-E2EF33498E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68300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EBE0EF1C-084A-4014-B7CE-5126CE9333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68299" y="2262961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3814C0C-404A-4CB0-97DE-88DAC91C9F1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B871635-60AD-42B6-916B-AB696FC21C48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810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D08697A9-763D-4101-A629-B8C464587CD1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0A40696-8BDA-4467-A948-8FDEE7B2B0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2331718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45834AD1-67C6-4B52-9C1C-9CDC6E8FED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243" y="2262961"/>
            <a:ext cx="2319968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E2F4580A-0D5E-4A36-897F-BC82DD2F947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366117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14A120F-5254-4AC5-842D-EDABFC0367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61171" y="5726509"/>
            <a:ext cx="233172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5D35A3A2-00CD-44D2-821F-EE7604FDC9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61171" y="2262962"/>
            <a:ext cx="233172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5B0DDFC0-CB07-4EDA-AA79-CD84C12E72D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645385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DDA81F5E-BFF4-40DB-9E52-F5C7CE6F26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53851" y="5726509"/>
            <a:ext cx="233171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8A96BFD0-28FC-48C9-9D67-C16FE0496C6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53851" y="2262962"/>
            <a:ext cx="2331719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1C2FFA97-B5B5-4425-A02D-BE159DE90DDB}"/>
              </a:ext>
            </a:extLst>
          </p:cNvPr>
          <p:cNvSpPr>
            <a:spLocks noGrp="1"/>
          </p:cNvSpPr>
          <p:nvPr>
            <p:ph type="pic" idx="23" hasCustomPrompt="1"/>
          </p:nvPr>
        </p:nvSpPr>
        <p:spPr>
          <a:xfrm>
            <a:off x="9246532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F5705EDC-D0D7-43C3-AF77-46F76E76BC9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46531" y="5726508"/>
            <a:ext cx="2332191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665046A0-2F9E-4A45-A3DC-1A80779955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46531" y="2262961"/>
            <a:ext cx="233219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5713E64-52D7-4B1E-A775-FFC5675D67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8E0C0A8-F8B8-4AB7-BE6F-330CFF51FE14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5671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D5773A3F-F682-4CDF-A763-ADF830C949E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8951" y="98770"/>
            <a:ext cx="5833011" cy="6759230"/>
          </a:xfrm>
          <a:custGeom>
            <a:avLst/>
            <a:gdLst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0 w 12188953"/>
              <a:gd name="connsiteY3" fmla="*/ 6426200 h 6426200"/>
              <a:gd name="connsiteX4" fmla="*/ 0 w 12188953"/>
              <a:gd name="connsiteY4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0 w 12188953"/>
              <a:gd name="connsiteY4" fmla="*/ 6426200 h 6426200"/>
              <a:gd name="connsiteX5" fmla="*/ 0 w 12188953"/>
              <a:gd name="connsiteY5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8366253 w 12188953"/>
              <a:gd name="connsiteY4" fmla="*/ 6413500 h 6426200"/>
              <a:gd name="connsiteX5" fmla="*/ 0 w 12188953"/>
              <a:gd name="connsiteY5" fmla="*/ 6426200 h 6426200"/>
              <a:gd name="connsiteX6" fmla="*/ 0 w 12188953"/>
              <a:gd name="connsiteY6" fmla="*/ 0 h 6426200"/>
              <a:gd name="connsiteX0" fmla="*/ 0 w 12188953"/>
              <a:gd name="connsiteY0" fmla="*/ 0 h 6629400"/>
              <a:gd name="connsiteX1" fmla="*/ 12188953 w 12188953"/>
              <a:gd name="connsiteY1" fmla="*/ 0 h 6629400"/>
              <a:gd name="connsiteX2" fmla="*/ 12188953 w 12188953"/>
              <a:gd name="connsiteY2" fmla="*/ 6426200 h 6629400"/>
              <a:gd name="connsiteX3" fmla="*/ 9102853 w 12188953"/>
              <a:gd name="connsiteY3" fmla="*/ 6413500 h 6629400"/>
              <a:gd name="connsiteX4" fmla="*/ 8632953 w 12188953"/>
              <a:gd name="connsiteY4" fmla="*/ 6629400 h 6629400"/>
              <a:gd name="connsiteX5" fmla="*/ 0 w 12188953"/>
              <a:gd name="connsiteY5" fmla="*/ 6426200 h 6629400"/>
              <a:gd name="connsiteX6" fmla="*/ 0 w 121889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115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242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50800 w 12239753"/>
              <a:gd name="connsiteY0" fmla="*/ 0 h 6654655"/>
              <a:gd name="connsiteX1" fmla="*/ 12239753 w 12239753"/>
              <a:gd name="connsiteY1" fmla="*/ 0 h 6654655"/>
              <a:gd name="connsiteX2" fmla="*/ 12239753 w 12239753"/>
              <a:gd name="connsiteY2" fmla="*/ 6426200 h 6654655"/>
              <a:gd name="connsiteX3" fmla="*/ 9280653 w 12239753"/>
              <a:gd name="connsiteY3" fmla="*/ 6413500 h 6654655"/>
              <a:gd name="connsiteX4" fmla="*/ 8709153 w 12239753"/>
              <a:gd name="connsiteY4" fmla="*/ 6642027 h 6654655"/>
              <a:gd name="connsiteX5" fmla="*/ 0 w 12239753"/>
              <a:gd name="connsiteY5" fmla="*/ 6654655 h 6654655"/>
              <a:gd name="connsiteX6" fmla="*/ 50800 w 12239753"/>
              <a:gd name="connsiteY6" fmla="*/ 0 h 6654655"/>
              <a:gd name="connsiteX0" fmla="*/ 50800 w 12239753"/>
              <a:gd name="connsiteY0" fmla="*/ 12627 h 6667282"/>
              <a:gd name="connsiteX1" fmla="*/ 6143753 w 12239753"/>
              <a:gd name="connsiteY1" fmla="*/ 0 h 6667282"/>
              <a:gd name="connsiteX2" fmla="*/ 12239753 w 12239753"/>
              <a:gd name="connsiteY2" fmla="*/ 6438827 h 6667282"/>
              <a:gd name="connsiteX3" fmla="*/ 9280653 w 12239753"/>
              <a:gd name="connsiteY3" fmla="*/ 6426127 h 6667282"/>
              <a:gd name="connsiteX4" fmla="*/ 8709153 w 12239753"/>
              <a:gd name="connsiteY4" fmla="*/ 6654654 h 6667282"/>
              <a:gd name="connsiteX5" fmla="*/ 0 w 12239753"/>
              <a:gd name="connsiteY5" fmla="*/ 6667282 h 6667282"/>
              <a:gd name="connsiteX6" fmla="*/ 50800 w 12239753"/>
              <a:gd name="connsiteY6" fmla="*/ 12627 h 6667282"/>
              <a:gd name="connsiteX0" fmla="*/ 50800 w 9280653"/>
              <a:gd name="connsiteY0" fmla="*/ 12627 h 6667282"/>
              <a:gd name="connsiteX1" fmla="*/ 6143753 w 9280653"/>
              <a:gd name="connsiteY1" fmla="*/ 0 h 6667282"/>
              <a:gd name="connsiteX2" fmla="*/ 9280653 w 9280653"/>
              <a:gd name="connsiteY2" fmla="*/ 6426127 h 6667282"/>
              <a:gd name="connsiteX3" fmla="*/ 8709153 w 9280653"/>
              <a:gd name="connsiteY3" fmla="*/ 6654654 h 6667282"/>
              <a:gd name="connsiteX4" fmla="*/ 0 w 9280653"/>
              <a:gd name="connsiteY4" fmla="*/ 6667282 h 6667282"/>
              <a:gd name="connsiteX5" fmla="*/ 50800 w 9280653"/>
              <a:gd name="connsiteY5" fmla="*/ 12627 h 6667282"/>
              <a:gd name="connsiteX0" fmla="*/ 50800 w 8709153"/>
              <a:gd name="connsiteY0" fmla="*/ 12627 h 6667282"/>
              <a:gd name="connsiteX1" fmla="*/ 6143753 w 8709153"/>
              <a:gd name="connsiteY1" fmla="*/ 0 h 6667282"/>
              <a:gd name="connsiteX2" fmla="*/ 8709153 w 8709153"/>
              <a:gd name="connsiteY2" fmla="*/ 6654654 h 6667282"/>
              <a:gd name="connsiteX3" fmla="*/ 0 w 8709153"/>
              <a:gd name="connsiteY3" fmla="*/ 6667282 h 6667282"/>
              <a:gd name="connsiteX4" fmla="*/ 50800 w 87091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90083 w 6190083"/>
              <a:gd name="connsiteY2" fmla="*/ 6667282 h 6667282"/>
              <a:gd name="connsiteX3" fmla="*/ 8230 w 6190083"/>
              <a:gd name="connsiteY3" fmla="*/ 6667282 h 6667282"/>
              <a:gd name="connsiteX4" fmla="*/ 720 w 619008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86537 w 6190083"/>
              <a:gd name="connsiteY2" fmla="*/ 530294 h 6667282"/>
              <a:gd name="connsiteX3" fmla="*/ 6190083 w 6190083"/>
              <a:gd name="connsiteY3" fmla="*/ 6667282 h 6667282"/>
              <a:gd name="connsiteX4" fmla="*/ 8230 w 6190083"/>
              <a:gd name="connsiteY4" fmla="*/ 6667282 h 6667282"/>
              <a:gd name="connsiteX5" fmla="*/ 720 w 6190083"/>
              <a:gd name="connsiteY5" fmla="*/ 12627 h 6667282"/>
              <a:gd name="connsiteX0" fmla="*/ 720 w 6190083"/>
              <a:gd name="connsiteY0" fmla="*/ 0 h 6654655"/>
              <a:gd name="connsiteX1" fmla="*/ 5731178 w 6190083"/>
              <a:gd name="connsiteY1" fmla="*/ 17406 h 6654655"/>
              <a:gd name="connsiteX2" fmla="*/ 6186537 w 6190083"/>
              <a:gd name="connsiteY2" fmla="*/ 517667 h 6654655"/>
              <a:gd name="connsiteX3" fmla="*/ 6190083 w 6190083"/>
              <a:gd name="connsiteY3" fmla="*/ 6654655 h 6654655"/>
              <a:gd name="connsiteX4" fmla="*/ 8230 w 6190083"/>
              <a:gd name="connsiteY4" fmla="*/ 6654655 h 6654655"/>
              <a:gd name="connsiteX5" fmla="*/ 720 w 6190083"/>
              <a:gd name="connsiteY5" fmla="*/ 0 h 6654655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522786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485245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4629"/>
              <a:gd name="connsiteY0" fmla="*/ 5119 h 6659774"/>
              <a:gd name="connsiteX1" fmla="*/ 5731178 w 6194629"/>
              <a:gd name="connsiteY1" fmla="*/ 0 h 6659774"/>
              <a:gd name="connsiteX2" fmla="*/ 6194629 w 6194629"/>
              <a:gd name="connsiteY2" fmla="*/ 440195 h 6659774"/>
              <a:gd name="connsiteX3" fmla="*/ 6190083 w 6194629"/>
              <a:gd name="connsiteY3" fmla="*/ 6659774 h 6659774"/>
              <a:gd name="connsiteX4" fmla="*/ 8230 w 6194629"/>
              <a:gd name="connsiteY4" fmla="*/ 6659774 h 6659774"/>
              <a:gd name="connsiteX5" fmla="*/ 720 w 6194629"/>
              <a:gd name="connsiteY5" fmla="*/ 5119 h 6659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94629" h="6659774">
                <a:moveTo>
                  <a:pt x="720" y="5119"/>
                </a:moveTo>
                <a:lnTo>
                  <a:pt x="5731178" y="0"/>
                </a:lnTo>
                <a:lnTo>
                  <a:pt x="6194629" y="440195"/>
                </a:lnTo>
                <a:cubicBezTo>
                  <a:pt x="6193114" y="2513388"/>
                  <a:pt x="6191598" y="4586581"/>
                  <a:pt x="6190083" y="6659774"/>
                </a:cubicBezTo>
                <a:lnTo>
                  <a:pt x="8230" y="6659774"/>
                </a:lnTo>
                <a:cubicBezTo>
                  <a:pt x="12463" y="4449974"/>
                  <a:pt x="-3513" y="2214919"/>
                  <a:pt x="720" y="511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640080" anchor="ctr"/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9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-11279" y="4615198"/>
            <a:ext cx="3653537" cy="1249154"/>
          </a:xfrm>
          <a:custGeom>
            <a:avLst/>
            <a:gdLst>
              <a:gd name="connsiteX0" fmla="*/ 0 w 7790688"/>
              <a:gd name="connsiteY0" fmla="*/ 1495912 h 1495912"/>
              <a:gd name="connsiteX1" fmla="*/ 449537 w 7790688"/>
              <a:gd name="connsiteY1" fmla="*/ 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7790688"/>
              <a:gd name="connsiteY0" fmla="*/ 1495912 h 1495912"/>
              <a:gd name="connsiteX1" fmla="*/ 4818337 w 7790688"/>
              <a:gd name="connsiteY1" fmla="*/ 2540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2990088"/>
              <a:gd name="connsiteY0" fmla="*/ 1521312 h 1521312"/>
              <a:gd name="connsiteX1" fmla="*/ 177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0 w 2990088"/>
              <a:gd name="connsiteY0" fmla="*/ 1521312 h 1521312"/>
              <a:gd name="connsiteX1" fmla="*/ 939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7663 w 2896151"/>
              <a:gd name="connsiteY0" fmla="*/ 1521312 h 1521312"/>
              <a:gd name="connsiteX1" fmla="*/ 0 w 2896151"/>
              <a:gd name="connsiteY1" fmla="*/ 25400 h 1521312"/>
              <a:gd name="connsiteX2" fmla="*/ 2896151 w 2896151"/>
              <a:gd name="connsiteY2" fmla="*/ 0 h 1521312"/>
              <a:gd name="connsiteX3" fmla="*/ 2446614 w 2896151"/>
              <a:gd name="connsiteY3" fmla="*/ 1495912 h 1521312"/>
              <a:gd name="connsiteX4" fmla="*/ 7663 w 2896151"/>
              <a:gd name="connsiteY4" fmla="*/ 1521312 h 1521312"/>
              <a:gd name="connsiteX0" fmla="*/ 743 w 2889231"/>
              <a:gd name="connsiteY0" fmla="*/ 1521312 h 1521312"/>
              <a:gd name="connsiteX1" fmla="*/ 700 w 2889231"/>
              <a:gd name="connsiteY1" fmla="*/ 2540 h 1521312"/>
              <a:gd name="connsiteX2" fmla="*/ 2889231 w 2889231"/>
              <a:gd name="connsiteY2" fmla="*/ 0 h 1521312"/>
              <a:gd name="connsiteX3" fmla="*/ 2439694 w 2889231"/>
              <a:gd name="connsiteY3" fmla="*/ 1495912 h 1521312"/>
              <a:gd name="connsiteX4" fmla="*/ 743 w 2889231"/>
              <a:gd name="connsiteY4" fmla="*/ 1521312 h 1521312"/>
              <a:gd name="connsiteX0" fmla="*/ 15283 w 2888531"/>
              <a:gd name="connsiteY0" fmla="*/ 1483212 h 1495912"/>
              <a:gd name="connsiteX1" fmla="*/ 0 w 2888531"/>
              <a:gd name="connsiteY1" fmla="*/ 25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98312 w 2888531"/>
              <a:gd name="connsiteY2" fmla="*/ 360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88787 w 2888531"/>
              <a:gd name="connsiteY2" fmla="*/ 128948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02806"/>
              <a:gd name="connsiteY0" fmla="*/ 1366372 h 1379072"/>
              <a:gd name="connsiteX1" fmla="*/ 0 w 2802806"/>
              <a:gd name="connsiteY1" fmla="*/ 0 h 1379072"/>
              <a:gd name="connsiteX2" fmla="*/ 2588787 w 2802806"/>
              <a:gd name="connsiteY2" fmla="*/ 12108 h 1379072"/>
              <a:gd name="connsiteX3" fmla="*/ 2802806 w 2802806"/>
              <a:gd name="connsiteY3" fmla="*/ 97473 h 1379072"/>
              <a:gd name="connsiteX4" fmla="*/ 2438994 w 2802806"/>
              <a:gd name="connsiteY4" fmla="*/ 1379072 h 1379072"/>
              <a:gd name="connsiteX5" fmla="*/ 15283 w 2802806"/>
              <a:gd name="connsiteY5" fmla="*/ 1366372 h 1379072"/>
              <a:gd name="connsiteX0" fmla="*/ 243 w 2816341"/>
              <a:gd name="connsiteY0" fmla="*/ 1356847 h 1379072"/>
              <a:gd name="connsiteX1" fmla="*/ 13535 w 2816341"/>
              <a:gd name="connsiteY1" fmla="*/ 0 h 1379072"/>
              <a:gd name="connsiteX2" fmla="*/ 2602322 w 2816341"/>
              <a:gd name="connsiteY2" fmla="*/ 12108 h 1379072"/>
              <a:gd name="connsiteX3" fmla="*/ 2816341 w 2816341"/>
              <a:gd name="connsiteY3" fmla="*/ 97473 h 1379072"/>
              <a:gd name="connsiteX4" fmla="*/ 2452529 w 2816341"/>
              <a:gd name="connsiteY4" fmla="*/ 1379072 h 1379072"/>
              <a:gd name="connsiteX5" fmla="*/ 243 w 2816341"/>
              <a:gd name="connsiteY5" fmla="*/ 1356847 h 1379072"/>
              <a:gd name="connsiteX0" fmla="*/ 243 w 2816341"/>
              <a:gd name="connsiteY0" fmla="*/ 1356847 h 1360022"/>
              <a:gd name="connsiteX1" fmla="*/ 13535 w 2816341"/>
              <a:gd name="connsiteY1" fmla="*/ 0 h 1360022"/>
              <a:gd name="connsiteX2" fmla="*/ 2602322 w 2816341"/>
              <a:gd name="connsiteY2" fmla="*/ 12108 h 1360022"/>
              <a:gd name="connsiteX3" fmla="*/ 2816341 w 2816341"/>
              <a:gd name="connsiteY3" fmla="*/ 97473 h 1360022"/>
              <a:gd name="connsiteX4" fmla="*/ 2476341 w 2816341"/>
              <a:gd name="connsiteY4" fmla="*/ 1360022 h 1360022"/>
              <a:gd name="connsiteX5" fmla="*/ 243 w 2816341"/>
              <a:gd name="connsiteY5" fmla="*/ 1356847 h 1360022"/>
              <a:gd name="connsiteX0" fmla="*/ 243 w 2816341"/>
              <a:gd name="connsiteY0" fmla="*/ 1356847 h 1369547"/>
              <a:gd name="connsiteX1" fmla="*/ 13535 w 2816341"/>
              <a:gd name="connsiteY1" fmla="*/ 0 h 1369547"/>
              <a:gd name="connsiteX2" fmla="*/ 2602322 w 2816341"/>
              <a:gd name="connsiteY2" fmla="*/ 12108 h 1369547"/>
              <a:gd name="connsiteX3" fmla="*/ 2816341 w 2816341"/>
              <a:gd name="connsiteY3" fmla="*/ 97473 h 1369547"/>
              <a:gd name="connsiteX4" fmla="*/ 2457291 w 2816341"/>
              <a:gd name="connsiteY4" fmla="*/ 1369547 h 1369547"/>
              <a:gd name="connsiteX5" fmla="*/ 243 w 2816341"/>
              <a:gd name="connsiteY5" fmla="*/ 1356847 h 1369547"/>
              <a:gd name="connsiteX0" fmla="*/ 243 w 2816341"/>
              <a:gd name="connsiteY0" fmla="*/ 1356847 h 1356847"/>
              <a:gd name="connsiteX1" fmla="*/ 13535 w 2816341"/>
              <a:gd name="connsiteY1" fmla="*/ 0 h 1356847"/>
              <a:gd name="connsiteX2" fmla="*/ 2602322 w 2816341"/>
              <a:gd name="connsiteY2" fmla="*/ 12108 h 1356847"/>
              <a:gd name="connsiteX3" fmla="*/ 2816341 w 2816341"/>
              <a:gd name="connsiteY3" fmla="*/ 97473 h 1356847"/>
              <a:gd name="connsiteX4" fmla="*/ 2481103 w 2816341"/>
              <a:gd name="connsiteY4" fmla="*/ 1245722 h 1356847"/>
              <a:gd name="connsiteX5" fmla="*/ 243 w 2816341"/>
              <a:gd name="connsiteY5" fmla="*/ 1356847 h 1356847"/>
              <a:gd name="connsiteX0" fmla="*/ 321 w 2811656"/>
              <a:gd name="connsiteY0" fmla="*/ 1252072 h 1252072"/>
              <a:gd name="connsiteX1" fmla="*/ 8850 w 2811656"/>
              <a:gd name="connsiteY1" fmla="*/ 0 h 1252072"/>
              <a:gd name="connsiteX2" fmla="*/ 2597637 w 2811656"/>
              <a:gd name="connsiteY2" fmla="*/ 12108 h 1252072"/>
              <a:gd name="connsiteX3" fmla="*/ 2811656 w 2811656"/>
              <a:gd name="connsiteY3" fmla="*/ 97473 h 1252072"/>
              <a:gd name="connsiteX4" fmla="*/ 2476418 w 2811656"/>
              <a:gd name="connsiteY4" fmla="*/ 1245722 h 1252072"/>
              <a:gd name="connsiteX5" fmla="*/ 321 w 28116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2476418 w 3675256"/>
              <a:gd name="connsiteY4" fmla="*/ 124572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3014898 w 3675256"/>
              <a:gd name="connsiteY4" fmla="*/ 125080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074839 w 3675256"/>
              <a:gd name="connsiteY3" fmla="*/ 10704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151039 w 3675256"/>
              <a:gd name="connsiteY3" fmla="*/ 26960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459 w 3675394"/>
              <a:gd name="connsiteY0" fmla="*/ 1247477 h 1247477"/>
              <a:gd name="connsiteX1" fmla="*/ 4393 w 3675394"/>
              <a:gd name="connsiteY1" fmla="*/ 0 h 1247477"/>
              <a:gd name="connsiteX2" fmla="*/ 2597775 w 3675394"/>
              <a:gd name="connsiteY2" fmla="*/ 7513 h 1247477"/>
              <a:gd name="connsiteX3" fmla="*/ 3151177 w 3675394"/>
              <a:gd name="connsiteY3" fmla="*/ 265005 h 1247477"/>
              <a:gd name="connsiteX4" fmla="*/ 3675394 w 3675394"/>
              <a:gd name="connsiteY4" fmla="*/ 255438 h 1247477"/>
              <a:gd name="connsiteX5" fmla="*/ 3015036 w 3675394"/>
              <a:gd name="connsiteY5" fmla="*/ 1246207 h 1247477"/>
              <a:gd name="connsiteX6" fmla="*/ 459 w 3675394"/>
              <a:gd name="connsiteY6" fmla="*/ 1247477 h 1247477"/>
              <a:gd name="connsiteX0" fmla="*/ 0 w 3674935"/>
              <a:gd name="connsiteY0" fmla="*/ 1247477 h 1247477"/>
              <a:gd name="connsiteX1" fmla="*/ 3934 w 3674935"/>
              <a:gd name="connsiteY1" fmla="*/ 0 h 1247477"/>
              <a:gd name="connsiteX2" fmla="*/ 2597316 w 3674935"/>
              <a:gd name="connsiteY2" fmla="*/ 7513 h 1247477"/>
              <a:gd name="connsiteX3" fmla="*/ 3150718 w 3674935"/>
              <a:gd name="connsiteY3" fmla="*/ 265005 h 1247477"/>
              <a:gd name="connsiteX4" fmla="*/ 3674935 w 3674935"/>
              <a:gd name="connsiteY4" fmla="*/ 255438 h 1247477"/>
              <a:gd name="connsiteX5" fmla="*/ 3014577 w 3674935"/>
              <a:gd name="connsiteY5" fmla="*/ 1246207 h 1247477"/>
              <a:gd name="connsiteX6" fmla="*/ 0 w 3674935"/>
              <a:gd name="connsiteY6" fmla="*/ 1247477 h 1247477"/>
              <a:gd name="connsiteX0" fmla="*/ 0 w 3674935"/>
              <a:gd name="connsiteY0" fmla="*/ 1249154 h 1249154"/>
              <a:gd name="connsiteX1" fmla="*/ 3934 w 3674935"/>
              <a:gd name="connsiteY1" fmla="*/ 1677 h 1249154"/>
              <a:gd name="connsiteX2" fmla="*/ 2601911 w 3674935"/>
              <a:gd name="connsiteY2" fmla="*/ 0 h 1249154"/>
              <a:gd name="connsiteX3" fmla="*/ 3150718 w 3674935"/>
              <a:gd name="connsiteY3" fmla="*/ 266682 h 1249154"/>
              <a:gd name="connsiteX4" fmla="*/ 3674935 w 3674935"/>
              <a:gd name="connsiteY4" fmla="*/ 257115 h 1249154"/>
              <a:gd name="connsiteX5" fmla="*/ 3014577 w 3674935"/>
              <a:gd name="connsiteY5" fmla="*/ 1247884 h 1249154"/>
              <a:gd name="connsiteX6" fmla="*/ 0 w 3674935"/>
              <a:gd name="connsiteY6" fmla="*/ 1249154 h 1249154"/>
              <a:gd name="connsiteX0" fmla="*/ 0 w 3661150"/>
              <a:gd name="connsiteY0" fmla="*/ 1249154 h 1249154"/>
              <a:gd name="connsiteX1" fmla="*/ 3934 w 3661150"/>
              <a:gd name="connsiteY1" fmla="*/ 1677 h 1249154"/>
              <a:gd name="connsiteX2" fmla="*/ 2601911 w 3661150"/>
              <a:gd name="connsiteY2" fmla="*/ 0 h 1249154"/>
              <a:gd name="connsiteX3" fmla="*/ 3150718 w 3661150"/>
              <a:gd name="connsiteY3" fmla="*/ 266682 h 1249154"/>
              <a:gd name="connsiteX4" fmla="*/ 3661150 w 3661150"/>
              <a:gd name="connsiteY4" fmla="*/ 257115 h 1249154"/>
              <a:gd name="connsiteX5" fmla="*/ 3014577 w 3661150"/>
              <a:gd name="connsiteY5" fmla="*/ 1247884 h 1249154"/>
              <a:gd name="connsiteX6" fmla="*/ 0 w 3661150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69460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14577 w 3653537"/>
              <a:gd name="connsiteY5" fmla="*/ 1247884 h 1249154"/>
              <a:gd name="connsiteX6" fmla="*/ 0 w 3653537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20612 w 3653537"/>
              <a:gd name="connsiteY5" fmla="*/ 1244866 h 1249154"/>
              <a:gd name="connsiteX6" fmla="*/ 0 w 3653537"/>
              <a:gd name="connsiteY6" fmla="*/ 1249154 h 124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53537" h="1249154">
                <a:moveTo>
                  <a:pt x="0" y="1249154"/>
                </a:moveTo>
                <a:cubicBezTo>
                  <a:pt x="1311" y="833328"/>
                  <a:pt x="2623" y="417503"/>
                  <a:pt x="3934" y="1677"/>
                </a:cubicBezTo>
                <a:lnTo>
                  <a:pt x="2601911" y="0"/>
                </a:lnTo>
                <a:lnTo>
                  <a:pt x="3150718" y="266682"/>
                </a:lnTo>
                <a:lnTo>
                  <a:pt x="3653537" y="269460"/>
                </a:lnTo>
                <a:lnTo>
                  <a:pt x="3020612" y="1244866"/>
                </a:lnTo>
                <a:lnTo>
                  <a:pt x="0" y="1249154"/>
                </a:lnTo>
                <a:close/>
              </a:path>
            </a:pathLst>
          </a:custGeom>
          <a:gradFill>
            <a:gsLst>
              <a:gs pos="0">
                <a:schemeClr val="bg2">
                  <a:lumMod val="75000"/>
                  <a:alpha val="85000"/>
                </a:schemeClr>
              </a:gs>
              <a:gs pos="100000">
                <a:schemeClr val="bg2">
                  <a:alpha val="85000"/>
                </a:schemeClr>
              </a:gs>
            </a:gsLst>
            <a:lin ang="5400000" scaled="0"/>
          </a:gradFill>
          <a:ln w="19050">
            <a:noFill/>
          </a:ln>
        </p:spPr>
        <p:txBody>
          <a:bodyPr vert="horz" lIns="454941" tIns="37851" rIns="75702" bIns="72790" rtlCol="0" anchor="ctr" anchorCtr="0">
            <a:noAutofit/>
          </a:bodyPr>
          <a:lstStyle>
            <a:lvl1pPr marL="342900" indent="-342900">
              <a:buFontTx/>
              <a:buNone/>
              <a:defRPr lang="en-US" sz="1094" dirty="0">
                <a:solidFill>
                  <a:srgbClr val="424949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 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B1ED78A0-A56B-4703-A84F-DDB45C4928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12466" y="4882452"/>
            <a:ext cx="5344068" cy="1070462"/>
          </a:xfrm>
          <a:custGeom>
            <a:avLst/>
            <a:gdLst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476543 w 2926080"/>
              <a:gd name="connsiteY3" fmla="*/ 1495912 h 1495912"/>
              <a:gd name="connsiteX4" fmla="*/ 0 w 2926080"/>
              <a:gd name="connsiteY4" fmla="*/ 1495912 h 1495912"/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918503 w 2926080"/>
              <a:gd name="connsiteY3" fmla="*/ 1038712 h 1495912"/>
              <a:gd name="connsiteX4" fmla="*/ 0 w 2926080"/>
              <a:gd name="connsiteY4" fmla="*/ 1495912 h 1495912"/>
              <a:gd name="connsiteX0" fmla="*/ 0 w 2606040"/>
              <a:gd name="connsiteY0" fmla="*/ 1114912 h 1114912"/>
              <a:gd name="connsiteX1" fmla="*/ 12949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92197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441220 w 2606040"/>
              <a:gd name="connsiteY1" fmla="*/ 59632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174520 w 2606040"/>
              <a:gd name="connsiteY2" fmla="*/ 1015428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428520 w 2606040"/>
              <a:gd name="connsiteY2" fmla="*/ 744495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160973 w 2606040"/>
              <a:gd name="connsiteY1" fmla="*/ 1018815 h 1114912"/>
              <a:gd name="connsiteX2" fmla="*/ 357400 w 2606040"/>
              <a:gd name="connsiteY2" fmla="*/ 916368 h 1114912"/>
              <a:gd name="connsiteX3" fmla="*/ 428520 w 2606040"/>
              <a:gd name="connsiteY3" fmla="*/ 744495 h 1114912"/>
              <a:gd name="connsiteX4" fmla="*/ 921977 w 2606040"/>
              <a:gd name="connsiteY4" fmla="*/ 0 h 1114912"/>
              <a:gd name="connsiteX5" fmla="*/ 2606040 w 2606040"/>
              <a:gd name="connsiteY5" fmla="*/ 0 h 1114912"/>
              <a:gd name="connsiteX6" fmla="*/ 2598463 w 2606040"/>
              <a:gd name="connsiteY6" fmla="*/ 1038712 h 1114912"/>
              <a:gd name="connsiteX7" fmla="*/ 0 w 2606040"/>
              <a:gd name="connsiteY7" fmla="*/ 1114912 h 1114912"/>
              <a:gd name="connsiteX0" fmla="*/ 0 w 5342890"/>
              <a:gd name="connsiteY0" fmla="*/ 1070462 h 1070462"/>
              <a:gd name="connsiteX1" fmla="*/ 2897823 w 5342890"/>
              <a:gd name="connsiteY1" fmla="*/ 1018815 h 1070462"/>
              <a:gd name="connsiteX2" fmla="*/ 3094250 w 5342890"/>
              <a:gd name="connsiteY2" fmla="*/ 916368 h 1070462"/>
              <a:gd name="connsiteX3" fmla="*/ 3165370 w 5342890"/>
              <a:gd name="connsiteY3" fmla="*/ 744495 h 1070462"/>
              <a:gd name="connsiteX4" fmla="*/ 3658827 w 5342890"/>
              <a:gd name="connsiteY4" fmla="*/ 0 h 1070462"/>
              <a:gd name="connsiteX5" fmla="*/ 5342890 w 5342890"/>
              <a:gd name="connsiteY5" fmla="*/ 0 h 1070462"/>
              <a:gd name="connsiteX6" fmla="*/ 5335313 w 5342890"/>
              <a:gd name="connsiteY6" fmla="*/ 1038712 h 1070462"/>
              <a:gd name="connsiteX7" fmla="*/ 0 w 5342890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98377 w 5347017"/>
              <a:gd name="connsiteY2" fmla="*/ 91636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662954 w 5347017"/>
              <a:gd name="connsiteY3" fmla="*/ 0 h 1070462"/>
              <a:gd name="connsiteX4" fmla="*/ 5347017 w 5347017"/>
              <a:gd name="connsiteY4" fmla="*/ 0 h 1070462"/>
              <a:gd name="connsiteX5" fmla="*/ 5339440 w 5347017"/>
              <a:gd name="connsiteY5" fmla="*/ 1038712 h 1070462"/>
              <a:gd name="connsiteX6" fmla="*/ 4127 w 5347017"/>
              <a:gd name="connsiteY6" fmla="*/ 1070462 h 1070462"/>
              <a:gd name="connsiteX0" fmla="*/ 4127 w 5358753"/>
              <a:gd name="connsiteY0" fmla="*/ 1070462 h 1070462"/>
              <a:gd name="connsiteX1" fmla="*/ 0 w 5358753"/>
              <a:gd name="connsiteY1" fmla="*/ 987065 h 1070462"/>
              <a:gd name="connsiteX2" fmla="*/ 3041227 w 5358753"/>
              <a:gd name="connsiteY2" fmla="*/ 973518 h 1070462"/>
              <a:gd name="connsiteX3" fmla="*/ 3662954 w 5358753"/>
              <a:gd name="connsiteY3" fmla="*/ 0 h 1070462"/>
              <a:gd name="connsiteX4" fmla="*/ 5347017 w 5358753"/>
              <a:gd name="connsiteY4" fmla="*/ 0 h 1070462"/>
              <a:gd name="connsiteX5" fmla="*/ 5358490 w 5358753"/>
              <a:gd name="connsiteY5" fmla="*/ 1064112 h 1070462"/>
              <a:gd name="connsiteX6" fmla="*/ 4127 w 5358753"/>
              <a:gd name="connsiteY6" fmla="*/ 1070462 h 1070462"/>
              <a:gd name="connsiteX0" fmla="*/ 0 w 5354626"/>
              <a:gd name="connsiteY0" fmla="*/ 1070462 h 1070462"/>
              <a:gd name="connsiteX1" fmla="*/ 4926 w 5354626"/>
              <a:gd name="connsiteY1" fmla="*/ 987065 h 1070462"/>
              <a:gd name="connsiteX2" fmla="*/ 3037100 w 5354626"/>
              <a:gd name="connsiteY2" fmla="*/ 973518 h 1070462"/>
              <a:gd name="connsiteX3" fmla="*/ 3658827 w 5354626"/>
              <a:gd name="connsiteY3" fmla="*/ 0 h 1070462"/>
              <a:gd name="connsiteX4" fmla="*/ 5342890 w 5354626"/>
              <a:gd name="connsiteY4" fmla="*/ 0 h 1070462"/>
              <a:gd name="connsiteX5" fmla="*/ 5354363 w 5354626"/>
              <a:gd name="connsiteY5" fmla="*/ 1064112 h 1070462"/>
              <a:gd name="connsiteX6" fmla="*/ 0 w 5354626"/>
              <a:gd name="connsiteY6" fmla="*/ 1070462 h 1070462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533933 w 5882524"/>
              <a:gd name="connsiteY0" fmla="*/ 1070462 h 1070474"/>
              <a:gd name="connsiteX1" fmla="*/ 532824 w 5882524"/>
              <a:gd name="connsiteY1" fmla="*/ 987065 h 1070474"/>
              <a:gd name="connsiteX2" fmla="*/ 3564998 w 5882524"/>
              <a:gd name="connsiteY2" fmla="*/ 973518 h 1070474"/>
              <a:gd name="connsiteX3" fmla="*/ 4186725 w 5882524"/>
              <a:gd name="connsiteY3" fmla="*/ 0 h 1070474"/>
              <a:gd name="connsiteX4" fmla="*/ 5870788 w 5882524"/>
              <a:gd name="connsiteY4" fmla="*/ 0 h 1070474"/>
              <a:gd name="connsiteX5" fmla="*/ 5882261 w 5882524"/>
              <a:gd name="connsiteY5" fmla="*/ 1064112 h 1070474"/>
              <a:gd name="connsiteX6" fmla="*/ 533933 w 5882524"/>
              <a:gd name="connsiteY6" fmla="*/ 1070462 h 1070474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3660 w 5737361"/>
              <a:gd name="connsiteY0" fmla="*/ 1070462 h 1070462"/>
              <a:gd name="connsiteX1" fmla="*/ 399886 w 5737361"/>
              <a:gd name="connsiteY1" fmla="*/ 987065 h 1070462"/>
              <a:gd name="connsiteX2" fmla="*/ 3419835 w 5737361"/>
              <a:gd name="connsiteY2" fmla="*/ 973518 h 1070462"/>
              <a:gd name="connsiteX3" fmla="*/ 4041562 w 5737361"/>
              <a:gd name="connsiteY3" fmla="*/ 0 h 1070462"/>
              <a:gd name="connsiteX4" fmla="*/ 5725625 w 5737361"/>
              <a:gd name="connsiteY4" fmla="*/ 0 h 1070462"/>
              <a:gd name="connsiteX5" fmla="*/ 5737098 w 5737361"/>
              <a:gd name="connsiteY5" fmla="*/ 1064112 h 1070462"/>
              <a:gd name="connsiteX6" fmla="*/ 393660 w 5737361"/>
              <a:gd name="connsiteY6" fmla="*/ 1070462 h 1070462"/>
              <a:gd name="connsiteX0" fmla="*/ 0 w 5343701"/>
              <a:gd name="connsiteY0" fmla="*/ 1070462 h 1070462"/>
              <a:gd name="connsiteX1" fmla="*/ 622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4620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7065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532222 w 5875923"/>
              <a:gd name="connsiteY0" fmla="*/ 1070462 h 1070462"/>
              <a:gd name="connsiteX1" fmla="*/ 533558 w 5875923"/>
              <a:gd name="connsiteY1" fmla="*/ 987065 h 1070462"/>
              <a:gd name="connsiteX2" fmla="*/ 3558397 w 5875923"/>
              <a:gd name="connsiteY2" fmla="*/ 973518 h 1070462"/>
              <a:gd name="connsiteX3" fmla="*/ 4180124 w 5875923"/>
              <a:gd name="connsiteY3" fmla="*/ 0 h 1070462"/>
              <a:gd name="connsiteX4" fmla="*/ 5864187 w 5875923"/>
              <a:gd name="connsiteY4" fmla="*/ 0 h 1070462"/>
              <a:gd name="connsiteX5" fmla="*/ 5875660 w 5875923"/>
              <a:gd name="connsiteY5" fmla="*/ 1064112 h 1070462"/>
              <a:gd name="connsiteX6" fmla="*/ 532222 w 5875923"/>
              <a:gd name="connsiteY6" fmla="*/ 1070462 h 1070462"/>
              <a:gd name="connsiteX0" fmla="*/ 0 w 5343701"/>
              <a:gd name="connsiteY0" fmla="*/ 1070462 h 1070462"/>
              <a:gd name="connsiteX1" fmla="*/ 133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87065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83923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74496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4068" h="1070462">
                <a:moveTo>
                  <a:pt x="0" y="1070462"/>
                </a:moveTo>
                <a:cubicBezTo>
                  <a:pt x="445" y="1038473"/>
                  <a:pt x="891" y="1006485"/>
                  <a:pt x="1336" y="974496"/>
                </a:cubicBezTo>
                <a:lnTo>
                  <a:pt x="3026175" y="973518"/>
                </a:lnTo>
                <a:lnTo>
                  <a:pt x="3647902" y="0"/>
                </a:lnTo>
                <a:lnTo>
                  <a:pt x="5342445" y="0"/>
                </a:lnTo>
                <a:cubicBezTo>
                  <a:pt x="5339919" y="346237"/>
                  <a:pt x="5345964" y="717875"/>
                  <a:pt x="5343438" y="1064112"/>
                </a:cubicBezTo>
                <a:lnTo>
                  <a:pt x="0" y="1070462"/>
                </a:ln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txBody>
          <a:bodyPr vert="horz" lIns="454941" tIns="37851" rIns="75702" bIns="72790" rtlCol="0" anchor="b">
            <a:noAutofit/>
          </a:bodyPr>
          <a:lstStyle>
            <a:lvl1pPr marL="0" indent="0">
              <a:buNone/>
              <a:defRPr lang="en-US" sz="1094" dirty="0">
                <a:solidFill>
                  <a:schemeClr val="bg1"/>
                </a:solidFill>
                <a:latin typeface="PTCRaleway" panose="020B0503030101060003" pitchFamily="34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EBEE7B-E80B-4767-8B19-9478781C6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5700" y="690485"/>
            <a:ext cx="5486400" cy="369332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65E310E-4680-4C73-838C-098522BD39DD}"/>
              </a:ext>
            </a:extLst>
          </p:cNvPr>
          <p:cNvSpPr/>
          <p:nvPr userDrawn="1"/>
        </p:nvSpPr>
        <p:spPr>
          <a:xfrm>
            <a:off x="6235700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96A1FBE7-9A49-4893-BE73-C040CC83491F}"/>
              </a:ext>
            </a:extLst>
          </p:cNvPr>
          <p:cNvGrpSpPr/>
          <p:nvPr userDrawn="1"/>
        </p:nvGrpSpPr>
        <p:grpSpPr>
          <a:xfrm flipH="1" flipV="1">
            <a:off x="5879755" y="2706256"/>
            <a:ext cx="152274" cy="3960685"/>
            <a:chOff x="5814441" y="100216"/>
            <a:chExt cx="152274" cy="3960685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2D94A2C-76F2-4901-9BC7-CD95D5D65BCA}"/>
                </a:ext>
              </a:extLst>
            </p:cNvPr>
            <p:cNvSpPr/>
            <p:nvPr userDrawn="1"/>
          </p:nvSpPr>
          <p:spPr>
            <a:xfrm rot="5400000" flipH="1">
              <a:off x="4300442" y="1617453"/>
              <a:ext cx="3168650" cy="140652"/>
            </a:xfrm>
            <a:custGeom>
              <a:avLst/>
              <a:gdLst>
                <a:gd name="connsiteX0" fmla="*/ 0 w 3168650"/>
                <a:gd name="connsiteY0" fmla="*/ 140653 h 140652"/>
                <a:gd name="connsiteX1" fmla="*/ 143446 w 3168650"/>
                <a:gd name="connsiteY1" fmla="*/ 0 h 140652"/>
                <a:gd name="connsiteX2" fmla="*/ 3168650 w 3168650"/>
                <a:gd name="connsiteY2" fmla="*/ 0 h 14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8650" h="140652">
                  <a:moveTo>
                    <a:pt x="0" y="140653"/>
                  </a:moveTo>
                  <a:lnTo>
                    <a:pt x="143446" y="0"/>
                  </a:lnTo>
                  <a:lnTo>
                    <a:pt x="3168650" y="0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838DB7B-C890-45AE-BA34-E7001C6689B7}"/>
                </a:ext>
              </a:extLst>
            </p:cNvPr>
            <p:cNvSpPr/>
            <p:nvPr userDrawn="1"/>
          </p:nvSpPr>
          <p:spPr>
            <a:xfrm rot="5400000" flipH="1">
              <a:off x="5894038" y="42209"/>
              <a:ext cx="6350" cy="122364"/>
            </a:xfrm>
            <a:custGeom>
              <a:avLst/>
              <a:gdLst>
                <a:gd name="connsiteX0" fmla="*/ 0 w 6350"/>
                <a:gd name="connsiteY0" fmla="*/ 122364 h 122364"/>
                <a:gd name="connsiteX1" fmla="*/ 0 w 6350"/>
                <a:gd name="connsiteY1" fmla="*/ 0 h 122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0" h="122364">
                  <a:moveTo>
                    <a:pt x="0" y="12236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A1872235-911B-47B8-8050-8E592E13782F}"/>
                </a:ext>
              </a:extLst>
            </p:cNvPr>
            <p:cNvSpPr/>
            <p:nvPr userDrawn="1"/>
          </p:nvSpPr>
          <p:spPr>
            <a:xfrm rot="5400000" flipH="1">
              <a:off x="5839080" y="18784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B3B3B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DF132B46-A4BE-4B5A-8EC2-40AF06B0B9F1}"/>
                </a:ext>
              </a:extLst>
            </p:cNvPr>
            <p:cNvSpPr/>
            <p:nvPr userDrawn="1"/>
          </p:nvSpPr>
          <p:spPr>
            <a:xfrm rot="5400000" flipH="1">
              <a:off x="5824887" y="232582"/>
              <a:ext cx="254063" cy="6350"/>
            </a:xfrm>
            <a:custGeom>
              <a:avLst/>
              <a:gdLst>
                <a:gd name="connsiteX0" fmla="*/ 0 w 254063"/>
                <a:gd name="connsiteY0" fmla="*/ 0 h 6350"/>
                <a:gd name="connsiteX1" fmla="*/ 254064 w 254063"/>
                <a:gd name="connsiteY1" fmla="*/ 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063" h="6350">
                  <a:moveTo>
                    <a:pt x="0" y="0"/>
                  </a:moveTo>
                  <a:lnTo>
                    <a:pt x="254064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grpSp>
          <p:nvGrpSpPr>
            <p:cNvPr id="65" name="Graphic 42">
              <a:extLst>
                <a:ext uri="{FF2B5EF4-FFF2-40B4-BE49-F238E27FC236}">
                  <a16:creationId xmlns:a16="http://schemas.microsoft.com/office/drawing/2014/main" id="{46262E16-46F5-4AA1-B76D-0A7704A23781}"/>
                </a:ext>
              </a:extLst>
            </p:cNvPr>
            <p:cNvGrpSpPr/>
            <p:nvPr userDrawn="1"/>
          </p:nvGrpSpPr>
          <p:grpSpPr>
            <a:xfrm rot="5400000" flipH="1">
              <a:off x="5485925" y="3580111"/>
              <a:ext cx="895032" cy="66548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8D267C4D-17F7-4C39-BBD4-3D66066F6FE0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761D1A02-D2E1-4370-AF43-F76B14915843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B7FB1973-B26D-49BE-807B-94562EF98491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28790BCE-1A2F-4455-9398-979CFA962EEB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07CF01A5-76D0-443F-B853-B3E6ABD28894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E2B9AF3D-585E-4458-82FF-6D6F42A2D8D3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F135D2F3-9B53-4DF3-84DD-20FEDAC316C4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CC275E23-A864-4ADA-93D6-5EDEF8DE705D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E6375D51-FE4B-4033-BD62-0DD5064071C1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B6C6C0CD-A604-438E-8D88-066E333C2977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8D479109-6DB0-49C3-AB38-D55B446F8F86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E62C9AB-022D-489B-A496-77D465DD7ED0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51DEDD2C-6313-4BBA-BF2C-B48404513035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63547A99-99CF-40B0-AC54-A09C351E7EBD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62E9619F-2DC2-45F2-9CE3-8D7A1DB7F9D6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445EA573-CE75-4E5A-BEDB-226A1D190A61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F8B37F39-FCE2-44C2-8BB7-DD3FF3CE5B27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6BC8E02B-2403-4B3B-A133-633F63B8440D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5E94E02B-5111-4986-B1CF-C6ECAD973AEC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85358E97-752A-4307-AD31-797C559E7A78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A548A88A-6E68-4D76-9B4D-430B1580BD5C}"/>
                </a:ext>
              </a:extLst>
            </p:cNvPr>
            <p:cNvGrpSpPr/>
            <p:nvPr userDrawn="1"/>
          </p:nvGrpSpPr>
          <p:grpSpPr>
            <a:xfrm rot="10800000">
              <a:off x="5862067" y="2566874"/>
              <a:ext cx="73151" cy="522033"/>
              <a:chOff x="5390750" y="3681616"/>
              <a:chExt cx="73151" cy="522033"/>
            </a:xfrm>
          </p:grpSpPr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47C3934B-FC7E-4798-9FC8-5815079C7AFD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EEEEC10-DB2A-437F-9301-EE9524E1169A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BD273B99-3244-412A-A286-CD68527AF4BF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962260D8-582A-41BA-B192-0F95A122BE14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51548AC6-032C-491B-AE9E-EC2BFBF35AF7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CD562180-9EE5-4589-897E-1D6821097E15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E1BCD94F-7B45-4C14-A6E5-ED070F82587D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4" name="Text Placeholder 103">
            <a:extLst>
              <a:ext uri="{FF2B5EF4-FFF2-40B4-BE49-F238E27FC236}">
                <a16:creationId xmlns:a16="http://schemas.microsoft.com/office/drawing/2014/main" id="{3F92D13C-3F81-42E4-AB3C-F61BBBD79BBD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306495" y="4725035"/>
            <a:ext cx="2967229" cy="1035050"/>
          </a:xfrm>
        </p:spPr>
        <p:txBody>
          <a:bodyPr anchor="ctr" anchorCtr="0"/>
          <a:lstStyle>
            <a:lvl1pPr marL="0" indent="0" algn="l">
              <a:spcBef>
                <a:spcPts val="0"/>
              </a:spcBef>
              <a:buFontTx/>
              <a:buNone/>
              <a:defRPr>
                <a:solidFill>
                  <a:schemeClr val="bg1"/>
                </a:solidFill>
              </a:defRPr>
            </a:lvl1pPr>
            <a:lvl2pPr marL="414337" indent="0">
              <a:buFontTx/>
              <a:buNone/>
              <a:defRPr>
                <a:solidFill>
                  <a:schemeClr val="bg1"/>
                </a:solidFill>
              </a:defRPr>
            </a:lvl2pPr>
            <a:lvl3pPr marL="7620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101725" indent="0">
              <a:buFontTx/>
              <a:buNone/>
              <a:defRPr>
                <a:solidFill>
                  <a:schemeClr val="bg1"/>
                </a:solidFill>
              </a:defRPr>
            </a:lvl4pPr>
            <a:lvl5pPr marL="1417637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ase Study 2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8E0F22E-03D5-4502-8E42-6A2026C39BC5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3671009" y="5036185"/>
            <a:ext cx="1472491" cy="723900"/>
          </a:xfrm>
        </p:spPr>
        <p:txBody>
          <a:bodyPr anchor="ctr" anchorCtr="0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aste log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F8F5CE-15BE-4435-9208-3EFF81A3836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61100" y="1485898"/>
            <a:ext cx="5486400" cy="498269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6" name="Freeform: Shape 105">
            <a:extLst>
              <a:ext uri="{FF2B5EF4-FFF2-40B4-BE49-F238E27FC236}">
                <a16:creationId xmlns:a16="http://schemas.microsoft.com/office/drawing/2014/main" id="{12BF1681-5E87-48F4-BB8F-930B0A275A4C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id="{674CC12C-C60C-4438-8830-61A7F083129B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03EEE2BC-2B99-4632-A83A-DD89FA9D29E3}"/>
              </a:ext>
            </a:extLst>
          </p:cNvPr>
          <p:cNvGrpSpPr/>
          <p:nvPr userDrawn="1"/>
        </p:nvGrpSpPr>
        <p:grpSpPr>
          <a:xfrm>
            <a:off x="11042268" y="241617"/>
            <a:ext cx="932562" cy="679259"/>
            <a:chOff x="11042268" y="267017"/>
            <a:chExt cx="932562" cy="679259"/>
          </a:xfrm>
        </p:grpSpPr>
        <p:grpSp>
          <p:nvGrpSpPr>
            <p:cNvPr id="109" name="Graphic 42">
              <a:extLst>
                <a:ext uri="{FF2B5EF4-FFF2-40B4-BE49-F238E27FC236}">
                  <a16:creationId xmlns:a16="http://schemas.microsoft.com/office/drawing/2014/main" id="{E76A6C60-6E89-4365-A3C1-42F195574F4C}"/>
                </a:ext>
              </a:extLst>
            </p:cNvPr>
            <p:cNvGrpSpPr/>
            <p:nvPr/>
          </p:nvGrpSpPr>
          <p:grpSpPr>
            <a:xfrm flipV="1">
              <a:off x="11042268" y="267017"/>
              <a:ext cx="907034" cy="112903"/>
              <a:chOff x="10978768" y="6357873"/>
              <a:chExt cx="907034" cy="112903"/>
            </a:xfrm>
            <a:solidFill>
              <a:srgbClr val="B8B7B9"/>
            </a:solidFill>
          </p:grpSpPr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67C0CA8D-313C-4845-86EF-1047A8E2AC83}"/>
                  </a:ext>
                </a:extLst>
              </p:cNvPr>
              <p:cNvSpPr/>
              <p:nvPr/>
            </p:nvSpPr>
            <p:spPr>
              <a:xfrm>
                <a:off x="10978768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AF64CE54-ED77-4075-ACED-CA3F5CE9FE6F}"/>
                  </a:ext>
                </a:extLst>
              </p:cNvPr>
              <p:cNvSpPr/>
              <p:nvPr/>
            </p:nvSpPr>
            <p:spPr>
              <a:xfrm>
                <a:off x="11041824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6DA7B07E-0952-4FD7-9BDE-A2A769039CAE}"/>
                  </a:ext>
                </a:extLst>
              </p:cNvPr>
              <p:cNvSpPr/>
              <p:nvPr/>
            </p:nvSpPr>
            <p:spPr>
              <a:xfrm>
                <a:off x="1110488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77097653-2DA5-4ACE-B2CC-9A42B4A8D3FD}"/>
                  </a:ext>
                </a:extLst>
              </p:cNvPr>
              <p:cNvSpPr/>
              <p:nvPr/>
            </p:nvSpPr>
            <p:spPr>
              <a:xfrm>
                <a:off x="11167998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0C49EC7A-9A79-4570-8318-E8BA608BB9F0}"/>
                  </a:ext>
                </a:extLst>
              </p:cNvPr>
              <p:cNvSpPr/>
              <p:nvPr/>
            </p:nvSpPr>
            <p:spPr>
              <a:xfrm>
                <a:off x="11233594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5FB48482-AACF-4BC4-9288-09D9E7DF7984}"/>
                  </a:ext>
                </a:extLst>
              </p:cNvPr>
              <p:cNvSpPr/>
              <p:nvPr/>
            </p:nvSpPr>
            <p:spPr>
              <a:xfrm>
                <a:off x="11488419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68C32904-67D0-4E06-BBAC-025737180B02}"/>
                  </a:ext>
                </a:extLst>
              </p:cNvPr>
              <p:cNvSpPr/>
              <p:nvPr/>
            </p:nvSpPr>
            <p:spPr>
              <a:xfrm>
                <a:off x="11743245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421B5C89-AA28-473C-8F7B-D759C1A5B39B}"/>
                  </a:ext>
                </a:extLst>
              </p:cNvPr>
              <p:cNvSpPr/>
              <p:nvPr/>
            </p:nvSpPr>
            <p:spPr>
              <a:xfrm>
                <a:off x="1129665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0DBC857E-F462-4263-85B2-6214B6F0B4FE}"/>
                  </a:ext>
                </a:extLst>
              </p:cNvPr>
              <p:cNvSpPr/>
              <p:nvPr/>
            </p:nvSpPr>
            <p:spPr>
              <a:xfrm>
                <a:off x="1155147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CFC9C795-F1B6-44DE-B10D-68D87D61C85D}"/>
                  </a:ext>
                </a:extLst>
              </p:cNvPr>
              <p:cNvSpPr/>
              <p:nvPr/>
            </p:nvSpPr>
            <p:spPr>
              <a:xfrm>
                <a:off x="11806301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4A08CF7B-D6F3-4333-8784-B71DC9575F62}"/>
                  </a:ext>
                </a:extLst>
              </p:cNvPr>
              <p:cNvSpPr/>
              <p:nvPr/>
            </p:nvSpPr>
            <p:spPr>
              <a:xfrm>
                <a:off x="1135970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DA6A7EE1-E9B0-4B1A-9723-5853878F85AB}"/>
                  </a:ext>
                </a:extLst>
              </p:cNvPr>
              <p:cNvSpPr/>
              <p:nvPr/>
            </p:nvSpPr>
            <p:spPr>
              <a:xfrm>
                <a:off x="11614594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6C00DB74-DF2C-455E-9131-78BBAC11DDD6}"/>
                  </a:ext>
                </a:extLst>
              </p:cNvPr>
              <p:cNvSpPr/>
              <p:nvPr/>
            </p:nvSpPr>
            <p:spPr>
              <a:xfrm>
                <a:off x="11869419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9ED12EEE-34E1-4CAC-8D66-0F40E8AD5757}"/>
                  </a:ext>
                </a:extLst>
              </p:cNvPr>
              <p:cNvSpPr/>
              <p:nvPr/>
            </p:nvSpPr>
            <p:spPr>
              <a:xfrm>
                <a:off x="11422824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A205E000-3581-46C7-915B-CCCF2678643B}"/>
                  </a:ext>
                </a:extLst>
              </p:cNvPr>
              <p:cNvSpPr/>
              <p:nvPr/>
            </p:nvSpPr>
            <p:spPr>
              <a:xfrm>
                <a:off x="11677650" y="6357873"/>
                <a:ext cx="16446" cy="112903"/>
              </a:xfrm>
              <a:custGeom>
                <a:avLst/>
                <a:gdLst>
                  <a:gd name="connsiteX0" fmla="*/ 0 w 16446"/>
                  <a:gd name="connsiteY0" fmla="*/ 112903 h 112903"/>
                  <a:gd name="connsiteX1" fmla="*/ 0 w 16446"/>
                  <a:gd name="connsiteY1" fmla="*/ 0 h 112903"/>
                  <a:gd name="connsiteX2" fmla="*/ 16446 w 16446"/>
                  <a:gd name="connsiteY2" fmla="*/ 0 h 112903"/>
                  <a:gd name="connsiteX3" fmla="*/ 16446 w 16446"/>
                  <a:gd name="connsiteY3" fmla="*/ 112903 h 112903"/>
                  <a:gd name="connsiteX4" fmla="*/ 0 w 16446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7F1A424A-2730-4831-9060-FE6AB9BB7850}"/>
                </a:ext>
              </a:extLst>
            </p:cNvPr>
            <p:cNvSpPr/>
            <p:nvPr/>
          </p:nvSpPr>
          <p:spPr>
            <a:xfrm rot="5400000" flipV="1">
              <a:off x="11916016" y="42430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FFFFFF">
                  <a:lumMod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grpSp>
          <p:nvGrpSpPr>
            <p:cNvPr id="111" name="Graphic 42">
              <a:extLst>
                <a:ext uri="{FF2B5EF4-FFF2-40B4-BE49-F238E27FC236}">
                  <a16:creationId xmlns:a16="http://schemas.microsoft.com/office/drawing/2014/main" id="{2344140C-36F0-464F-AE12-58F3BCA89893}"/>
                </a:ext>
              </a:extLst>
            </p:cNvPr>
            <p:cNvGrpSpPr/>
            <p:nvPr/>
          </p:nvGrpSpPr>
          <p:grpSpPr>
            <a:xfrm flipV="1">
              <a:off x="11901678" y="535622"/>
              <a:ext cx="73152" cy="410654"/>
              <a:chOff x="11838178" y="5791517"/>
              <a:chExt cx="73152" cy="410654"/>
            </a:xfrm>
            <a:solidFill>
              <a:srgbClr val="FFFFFF">
                <a:lumMod val="50000"/>
              </a:srgbClr>
            </a:solidFill>
          </p:grpSpPr>
          <p:grpSp>
            <p:nvGrpSpPr>
              <p:cNvPr id="112" name="Graphic 42">
                <a:extLst>
                  <a:ext uri="{FF2B5EF4-FFF2-40B4-BE49-F238E27FC236}">
                    <a16:creationId xmlns:a16="http://schemas.microsoft.com/office/drawing/2014/main" id="{9CF2C3B3-748B-4990-B09F-4A636EC5FC77}"/>
                  </a:ext>
                </a:extLst>
              </p:cNvPr>
              <p:cNvGrpSpPr/>
              <p:nvPr/>
            </p:nvGrpSpPr>
            <p:grpSpPr>
              <a:xfrm>
                <a:off x="11854497" y="5791517"/>
                <a:ext cx="42418" cy="282892"/>
                <a:chOff x="11854497" y="5791517"/>
                <a:chExt cx="42418" cy="282892"/>
              </a:xfrm>
              <a:grpFill/>
            </p:grpSpPr>
            <p:sp>
              <p:nvSpPr>
                <p:cNvPr id="114" name="Freeform: Shape 113">
                  <a:extLst>
                    <a:ext uri="{FF2B5EF4-FFF2-40B4-BE49-F238E27FC236}">
                      <a16:creationId xmlns:a16="http://schemas.microsoft.com/office/drawing/2014/main" id="{8B06F421-C117-4A14-A338-7536C1E1084E}"/>
                    </a:ext>
                  </a:extLst>
                </p:cNvPr>
                <p:cNvSpPr/>
                <p:nvPr/>
              </p:nvSpPr>
              <p:spPr>
                <a:xfrm>
                  <a:off x="11855259" y="5891022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5" name="Freeform: Shape 114">
                  <a:extLst>
                    <a:ext uri="{FF2B5EF4-FFF2-40B4-BE49-F238E27FC236}">
                      <a16:creationId xmlns:a16="http://schemas.microsoft.com/office/drawing/2014/main" id="{0B451100-FFA2-495A-8825-2C61DEEF1E15}"/>
                    </a:ext>
                  </a:extLst>
                </p:cNvPr>
                <p:cNvSpPr/>
                <p:nvPr/>
              </p:nvSpPr>
              <p:spPr>
                <a:xfrm>
                  <a:off x="11855259" y="595553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6" name="Freeform: Shape 115">
                  <a:extLst>
                    <a:ext uri="{FF2B5EF4-FFF2-40B4-BE49-F238E27FC236}">
                      <a16:creationId xmlns:a16="http://schemas.microsoft.com/office/drawing/2014/main" id="{DA6027BA-5487-4D06-B6CE-DA1AE19ADBD8}"/>
                    </a:ext>
                  </a:extLst>
                </p:cNvPr>
                <p:cNvSpPr/>
                <p:nvPr/>
              </p:nvSpPr>
              <p:spPr>
                <a:xfrm>
                  <a:off x="11855259" y="6011545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7F6CB4AE-5D33-40E8-A7A5-A3809695ABA8}"/>
                    </a:ext>
                  </a:extLst>
                </p:cNvPr>
                <p:cNvSpPr/>
                <p:nvPr/>
              </p:nvSpPr>
              <p:spPr>
                <a:xfrm>
                  <a:off x="11855259" y="607002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0A7FC485-A152-4C62-B4BC-2C67739D0C0C}"/>
                    </a:ext>
                  </a:extLst>
                </p:cNvPr>
                <p:cNvSpPr/>
                <p:nvPr/>
              </p:nvSpPr>
              <p:spPr>
                <a:xfrm>
                  <a:off x="11854497" y="5791517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solidFill>
                  <a:srgbClr val="C8C9C7"/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189B2A7E-1137-438B-B25A-C73A7989BFD3}"/>
                  </a:ext>
                </a:extLst>
              </p:cNvPr>
              <p:cNvSpPr/>
              <p:nvPr/>
            </p:nvSpPr>
            <p:spPr>
              <a:xfrm>
                <a:off x="11838178" y="6162294"/>
                <a:ext cx="73152" cy="39877"/>
              </a:xfrm>
              <a:custGeom>
                <a:avLst/>
                <a:gdLst>
                  <a:gd name="connsiteX0" fmla="*/ 38671 w 73152"/>
                  <a:gd name="connsiteY0" fmla="*/ 0 h 39877"/>
                  <a:gd name="connsiteX1" fmla="*/ 73152 w 73152"/>
                  <a:gd name="connsiteY1" fmla="*/ 37465 h 39877"/>
                  <a:gd name="connsiteX2" fmla="*/ 69914 w 73152"/>
                  <a:gd name="connsiteY2" fmla="*/ 39878 h 39877"/>
                  <a:gd name="connsiteX3" fmla="*/ 36576 w 73152"/>
                  <a:gd name="connsiteY3" fmla="*/ 3747 h 39877"/>
                  <a:gd name="connsiteX4" fmla="*/ 3239 w 73152"/>
                  <a:gd name="connsiteY4" fmla="*/ 39878 h 39877"/>
                  <a:gd name="connsiteX5" fmla="*/ 0 w 73152"/>
                  <a:gd name="connsiteY5" fmla="*/ 37465 h 39877"/>
                  <a:gd name="connsiteX6" fmla="*/ 34480 w 73152"/>
                  <a:gd name="connsiteY6" fmla="*/ 0 h 39877"/>
                  <a:gd name="connsiteX7" fmla="*/ 38671 w 73152"/>
                  <a:gd name="connsiteY7" fmla="*/ 0 h 39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152" h="39877">
                    <a:moveTo>
                      <a:pt x="38671" y="0"/>
                    </a:moveTo>
                    <a:lnTo>
                      <a:pt x="73152" y="37465"/>
                    </a:lnTo>
                    <a:lnTo>
                      <a:pt x="69914" y="39878"/>
                    </a:lnTo>
                    <a:lnTo>
                      <a:pt x="36576" y="3747"/>
                    </a:lnTo>
                    <a:lnTo>
                      <a:pt x="3239" y="39878"/>
                    </a:lnTo>
                    <a:lnTo>
                      <a:pt x="0" y="37465"/>
                    </a:lnTo>
                    <a:lnTo>
                      <a:pt x="34480" y="0"/>
                    </a:lnTo>
                    <a:lnTo>
                      <a:pt x="38671" y="0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CFD0C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34" name="Rectangle 6">
            <a:extLst>
              <a:ext uri="{FF2B5EF4-FFF2-40B4-BE49-F238E27FC236}">
                <a16:creationId xmlns:a16="http://schemas.microsoft.com/office/drawing/2014/main" id="{9A684274-C089-4AB2-BFEC-75EED3280300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  <p:sp>
        <p:nvSpPr>
          <p:cNvPr id="135" name="Freeform: Shape 134">
            <a:extLst>
              <a:ext uri="{FF2B5EF4-FFF2-40B4-BE49-F238E27FC236}">
                <a16:creationId xmlns:a16="http://schemas.microsoft.com/office/drawing/2014/main" id="{0B736019-6C3D-4676-A1FB-36A31E7875B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0695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917EBC3C-F2FD-4799-BA0A-65D895E636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368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917EBC3C-F2FD-4799-BA0A-65D895E63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2510D0F0-12AD-45C1-9B94-2885922355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ABE548-101B-4EAC-8CB7-BBD49E604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0B84918-AECE-4E9D-811A-C362EB2F227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5480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CFDD1C55-CC28-4EF8-AC55-64EE2B45BE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5163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CDE670DD-0AD0-49A7-BBB7-6E14E24C352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96308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FC9DE6F9-8E54-4D72-AB42-FB47C6AFD2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95991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3183D2B9-482A-44BB-9D5F-DBFE89D19F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27756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775FB311-5594-4514-9EFB-DF05142A6E8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27439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8D4CC7BD-E27E-4EE8-A7DB-4AC115B1C01D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775092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8AD2306-5A92-4FC0-BFA9-0F7016A6CDA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805920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B0D23108-9BEB-4E78-980F-330123D90595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837368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59386-9143-433E-8318-1171FD2EFC8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58240" y="1691640"/>
            <a:ext cx="987552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2019772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0DD1B2-3E44-448A-B29D-4BF5525EAF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254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0DD1B2-3E44-448A-B29D-4BF5525EA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F8CDBA-3DC1-4B48-9D1F-EF614A8FDD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272BA-DF00-4403-901D-E1E0848AA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490C73DF-CFB4-4B5B-92C8-F90E3A62E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6903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3" name="Text Placeholder 34">
            <a:extLst>
              <a:ext uri="{FF2B5EF4-FFF2-40B4-BE49-F238E27FC236}">
                <a16:creationId xmlns:a16="http://schemas.microsoft.com/office/drawing/2014/main" id="{FE00311D-162D-450B-AAB4-212D530B99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6685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9D12CB28-EBBA-4213-84C3-27EE8E1195B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66655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9" name="Text Placeholder 34">
            <a:extLst>
              <a:ext uri="{FF2B5EF4-FFF2-40B4-BE49-F238E27FC236}">
                <a16:creationId xmlns:a16="http://schemas.microsoft.com/office/drawing/2014/main" id="{A8089C8B-DB33-4F20-A90E-29D5706AC69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66437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1" name="Text Placeholder 32">
            <a:extLst>
              <a:ext uri="{FF2B5EF4-FFF2-40B4-BE49-F238E27FC236}">
                <a16:creationId xmlns:a16="http://schemas.microsoft.com/office/drawing/2014/main" id="{16964035-D680-41E2-BCE6-EDBF166297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31277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2" name="Text Placeholder 34">
            <a:extLst>
              <a:ext uri="{FF2B5EF4-FFF2-40B4-BE49-F238E27FC236}">
                <a16:creationId xmlns:a16="http://schemas.microsoft.com/office/drawing/2014/main" id="{F7D72ACE-A6E3-49BA-B635-B4FF555C66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1059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4" name="Text Placeholder 32">
            <a:extLst>
              <a:ext uri="{FF2B5EF4-FFF2-40B4-BE49-F238E27FC236}">
                <a16:creationId xmlns:a16="http://schemas.microsoft.com/office/drawing/2014/main" id="{41F1B747-4A09-4131-B94D-7B72FE0ADA1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80269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5" name="Text Placeholder 34">
            <a:extLst>
              <a:ext uri="{FF2B5EF4-FFF2-40B4-BE49-F238E27FC236}">
                <a16:creationId xmlns:a16="http://schemas.microsoft.com/office/drawing/2014/main" id="{4B4EBABA-E6CB-464F-9FBA-E5F9B03A37E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580051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1AEB5892-C8FD-4265-8F93-69E01BC959C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357243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7A40C7-5620-4D59-8DE5-CA304D9A962A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4326995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4F6992F5-14F1-443B-A56F-0DAFD3A17D1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240609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75F2538-CC6F-47C5-8E22-46B3CA1900D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7291617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CCFC8A-0256-42C2-A3A7-09FD853D84A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1158240" y="1691640"/>
            <a:ext cx="9875520" cy="304699"/>
          </a:xfrm>
        </p:spPr>
        <p:txBody>
          <a:bodyPr anchor="ctr" anchorCtr="0">
            <a:spAutoFit/>
          </a:bodyPr>
          <a:lstStyle>
            <a:lvl1pPr marL="0" indent="0" algn="ctr">
              <a:buFontTx/>
              <a:buNone/>
              <a:defRPr sz="220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1598868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5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6A4F4D-6AC9-472A-A2AB-2099BEC9F3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172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6A4F4D-6AC9-472A-A2AB-2099BEC9F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1AB3B7A-7D2B-4440-A050-8E1A9F7ACE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0" name="Text Placeholder 32">
            <a:extLst>
              <a:ext uri="{FF2B5EF4-FFF2-40B4-BE49-F238E27FC236}">
                <a16:creationId xmlns:a16="http://schemas.microsoft.com/office/drawing/2014/main" id="{20840560-1C1B-4438-8E2A-EB45F76A41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1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1" name="Text Placeholder 34">
            <a:extLst>
              <a:ext uri="{FF2B5EF4-FFF2-40B4-BE49-F238E27FC236}">
                <a16:creationId xmlns:a16="http://schemas.microsoft.com/office/drawing/2014/main" id="{22B560B1-F704-4710-8C69-EF14EBFC200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0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D3815E-B933-4FE0-A09F-E868666F8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62" name="Text Placeholder 32">
            <a:extLst>
              <a:ext uri="{FF2B5EF4-FFF2-40B4-BE49-F238E27FC236}">
                <a16:creationId xmlns:a16="http://schemas.microsoft.com/office/drawing/2014/main" id="{D500394C-3BD7-456E-94D6-9CC3674F810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052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3" name="Text Placeholder 34">
            <a:extLst>
              <a:ext uri="{FF2B5EF4-FFF2-40B4-BE49-F238E27FC236}">
                <a16:creationId xmlns:a16="http://schemas.microsoft.com/office/drawing/2014/main" id="{7B743BCC-ADA1-41CD-AA72-A7C3259B7BF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050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5" name="Text Placeholder 32">
            <a:extLst>
              <a:ext uri="{FF2B5EF4-FFF2-40B4-BE49-F238E27FC236}">
                <a16:creationId xmlns:a16="http://schemas.microsoft.com/office/drawing/2014/main" id="{9CF14A49-B79D-4241-8D6E-A9AF339154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53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6" name="Text Placeholder 34">
            <a:extLst>
              <a:ext uri="{FF2B5EF4-FFF2-40B4-BE49-F238E27FC236}">
                <a16:creationId xmlns:a16="http://schemas.microsoft.com/office/drawing/2014/main" id="{F1158342-69C8-4371-BCD8-53A5098B240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2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8" name="Text Placeholder 32">
            <a:extLst>
              <a:ext uri="{FF2B5EF4-FFF2-40B4-BE49-F238E27FC236}">
                <a16:creationId xmlns:a16="http://schemas.microsoft.com/office/drawing/2014/main" id="{3194E8C5-CF18-4462-8B5C-F283EC3A1D1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153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9" name="Text Placeholder 34">
            <a:extLst>
              <a:ext uri="{FF2B5EF4-FFF2-40B4-BE49-F238E27FC236}">
                <a16:creationId xmlns:a16="http://schemas.microsoft.com/office/drawing/2014/main" id="{B89299B9-EADF-480C-9DBB-4D26BDCEEB1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151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71" name="Text Placeholder 32">
            <a:extLst>
              <a:ext uri="{FF2B5EF4-FFF2-40B4-BE49-F238E27FC236}">
                <a16:creationId xmlns:a16="http://schemas.microsoft.com/office/drawing/2014/main" id="{11BE195C-EFC1-43CC-ABE3-385CD2DBC41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8775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72" name="Text Placeholder 34">
            <a:extLst>
              <a:ext uri="{FF2B5EF4-FFF2-40B4-BE49-F238E27FC236}">
                <a16:creationId xmlns:a16="http://schemas.microsoft.com/office/drawing/2014/main" id="{30EA21AF-635A-488B-AD35-F2C5617816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773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7CB6BC-C8A7-4A75-A6B9-B1FF1BBFBC8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58240" y="1691640"/>
            <a:ext cx="9875520" cy="304699"/>
          </a:xfr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2200" dirty="0"/>
            </a:lvl1pPr>
          </a:lstStyle>
          <a:p>
            <a:pPr marL="0" lvl="0" indent="0" algn="ctr">
              <a:buNone/>
            </a:pPr>
            <a:r>
              <a:rPr lang="en-US" dirty="0"/>
              <a:t>Call out blurb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3523CA84-618D-4DD3-990C-F1CC2C9DA5C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1073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0C3A2E6-6C10-45B7-A881-66676E6B340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3975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C485E4FD-70C7-4930-A59E-249272568A6A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80076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49C1F186-5A53-49CB-AEEA-AB482BCE273E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645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79F9822-25A0-4B06-ABEB-694778C95E00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3698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</p:spTree>
    <p:extLst>
      <p:ext uri="{BB962C8B-B14F-4D97-AF65-F5344CB8AC3E}">
        <p14:creationId xmlns:p14="http://schemas.microsoft.com/office/powerpoint/2010/main" val="397859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5B05F195-396D-4D83-8F33-F626D282E766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1731513" y="1439765"/>
            <a:ext cx="8728974" cy="4922935"/>
          </a:xfrm>
          <a:ln>
            <a:solidFill>
              <a:schemeClr val="bg2"/>
            </a:solidFill>
          </a:ln>
        </p:spPr>
        <p:txBody>
          <a:bodyPr vert="horz" lIns="0" tIns="0" rIns="0" bIns="731520" rtlCol="0" anchor="ctr" anchorCtr="0">
            <a:noAutofit/>
          </a:bodyPr>
          <a:lstStyle>
            <a:lvl1pPr marL="0" indent="0" algn="ctr">
              <a:buFontTx/>
              <a:buNone/>
              <a:defRPr lang="en-US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media icon to add video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EAE63A-39ED-4825-AFB2-206AF22C55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116896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4C2D668-A66C-4169-B72A-C6DE826614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40A4664-7303-44CA-9BE8-4A22FD0D7EBF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10A2FC2-4C43-4567-9BC7-9E1FB152702F}"/>
              </a:ext>
            </a:extLst>
          </p:cNvPr>
          <p:cNvSpPr/>
          <p:nvPr userDrawn="1"/>
        </p:nvSpPr>
        <p:spPr>
          <a:xfrm>
            <a:off x="1817683" y="2478001"/>
            <a:ext cx="5236260" cy="1832698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7" y="3088211"/>
            <a:ext cx="8869680" cy="692497"/>
          </a:xfrm>
        </p:spPr>
        <p:txBody>
          <a:bodyPr anchor="ctr" anchorCtr="0">
            <a:spAutoFit/>
          </a:bodyPr>
          <a:lstStyle>
            <a:lvl1pPr algn="l">
              <a:lnSpc>
                <a:spcPct val="100000"/>
              </a:lnSpc>
              <a:defRPr lang="en-US" sz="5000" b="1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1 line of tex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C7F3B32-EE76-44C5-8359-BC4ACEC00C40}"/>
              </a:ext>
            </a:extLst>
          </p:cNvPr>
          <p:cNvGrpSpPr/>
          <p:nvPr userDrawn="1"/>
        </p:nvGrpSpPr>
        <p:grpSpPr>
          <a:xfrm>
            <a:off x="0" y="3166440"/>
            <a:ext cx="2455333" cy="537112"/>
            <a:chOff x="0" y="3161621"/>
            <a:chExt cx="2455333" cy="53711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F2B67A1-EE4B-45BF-9BBC-A9A3AB5F7F53}"/>
                </a:ext>
              </a:extLst>
            </p:cNvPr>
            <p:cNvSpPr/>
            <p:nvPr userDrawn="1"/>
          </p:nvSpPr>
          <p:spPr>
            <a:xfrm>
              <a:off x="0" y="3161621"/>
              <a:ext cx="2455333" cy="537112"/>
            </a:xfrm>
            <a:prstGeom prst="rect">
              <a:avLst/>
            </a:prstGeom>
            <a:solidFill>
              <a:srgbClr val="7BC1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5DA7B0E-0DF0-4795-BC40-8582B80C8C7D}"/>
                </a:ext>
              </a:extLst>
            </p:cNvPr>
            <p:cNvSpPr/>
            <p:nvPr userDrawn="1"/>
          </p:nvSpPr>
          <p:spPr>
            <a:xfrm rot="16200000" flipH="1">
              <a:off x="310000" y="3115270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32EA109-B6D2-47CB-9BC9-D55B0F9A6750}"/>
                </a:ext>
              </a:extLst>
            </p:cNvPr>
            <p:cNvSpPr/>
            <p:nvPr userDrawn="1"/>
          </p:nvSpPr>
          <p:spPr>
            <a:xfrm rot="16200000" flipH="1">
              <a:off x="82144" y="3339115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D0CF51F-F4CE-426F-AB3D-EFB191BB14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722355" y="3238216"/>
              <a:ext cx="647967" cy="373101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8A23F11-3EF7-4BB7-9396-70D452EECC1B}"/>
                </a:ext>
              </a:extLst>
            </p:cNvPr>
            <p:cNvCxnSpPr/>
            <p:nvPr userDrawn="1"/>
          </p:nvCxnSpPr>
          <p:spPr>
            <a:xfrm>
              <a:off x="176782" y="3325341"/>
              <a:ext cx="0" cy="3657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86104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5"/>
            <a:ext cx="10789920" cy="4482201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DD20BEA-D0C6-499E-90FB-BB7F1A830939}"/>
              </a:ext>
            </a:extLst>
          </p:cNvPr>
          <p:cNvSpPr/>
          <p:nvPr userDrawn="1"/>
        </p:nvSpPr>
        <p:spPr>
          <a:xfrm>
            <a:off x="3048" y="6624536"/>
            <a:ext cx="12188952" cy="233465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8374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E3BA5223-32A3-4F4D-A64E-5A3DC4846203}"/>
              </a:ext>
            </a:extLst>
          </p:cNvPr>
          <p:cNvSpPr/>
          <p:nvPr userDrawn="1"/>
        </p:nvSpPr>
        <p:spPr>
          <a:xfrm>
            <a:off x="3048" y="6601968"/>
            <a:ext cx="12188952" cy="256032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\</a:t>
            </a:r>
          </a:p>
        </p:txBody>
      </p:sp>
    </p:spTree>
    <p:extLst>
      <p:ext uri="{BB962C8B-B14F-4D97-AF65-F5344CB8AC3E}">
        <p14:creationId xmlns:p14="http://schemas.microsoft.com/office/powerpoint/2010/main" val="2692212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rgbClr val="3C46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0">
            <a:hlinkClick r:id="rId2"/>
            <a:extLst>
              <a:ext uri="{FF2B5EF4-FFF2-40B4-BE49-F238E27FC236}">
                <a16:creationId xmlns:a16="http://schemas.microsoft.com/office/drawing/2014/main" id="{7ED43A46-AFFE-4105-A07A-4D800F0FD780}"/>
              </a:ext>
            </a:extLst>
          </p:cNvPr>
          <p:cNvSpPr txBox="1"/>
          <p:nvPr userDrawn="1"/>
        </p:nvSpPr>
        <p:spPr>
          <a:xfrm>
            <a:off x="369696" y="5208601"/>
            <a:ext cx="2459879" cy="322523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0" lvl="0" indent="0" algn="ctr" defTabSz="1086775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20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PTCRaleway"/>
                <a:ea typeface="+mn-ea"/>
                <a:cs typeface="PTCRaleway"/>
              </a:rPr>
              <a:t>ptc.com</a:t>
            </a:r>
            <a:endParaRPr kumimoji="0" sz="2000" b="0" i="0" u="none" strike="noStrike" kern="1200" cap="none" spc="200" normalizeH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PTCRaleway"/>
              <a:ea typeface="+mn-ea"/>
              <a:cs typeface="PTCRaleway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69ABB46-9366-47EC-8281-970F2B4A701E}"/>
              </a:ext>
            </a:extLst>
          </p:cNvPr>
          <p:cNvGrpSpPr/>
          <p:nvPr userDrawn="1"/>
        </p:nvGrpSpPr>
        <p:grpSpPr>
          <a:xfrm>
            <a:off x="4220144" y="3133535"/>
            <a:ext cx="3751712" cy="590931"/>
            <a:chOff x="4538660" y="3133535"/>
            <a:chExt cx="3751712" cy="590931"/>
          </a:xfrm>
        </p:grpSpPr>
        <p:sp>
          <p:nvSpPr>
            <p:cNvPr id="30" name="Title 5">
              <a:extLst>
                <a:ext uri="{FF2B5EF4-FFF2-40B4-BE49-F238E27FC236}">
                  <a16:creationId xmlns:a16="http://schemas.microsoft.com/office/drawing/2014/main" id="{61A34D6B-75F2-4EF8-8F57-128F503089F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784848" y="3133535"/>
              <a:ext cx="1505524" cy="59093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>
                  <a:latin typeface="+mn-lt"/>
                </a:rPr>
                <a:t>you</a:t>
              </a:r>
            </a:p>
          </p:txBody>
        </p:sp>
        <p:sp>
          <p:nvSpPr>
            <p:cNvPr id="31" name="Title 5">
              <a:extLst>
                <a:ext uri="{FF2B5EF4-FFF2-40B4-BE49-F238E27FC236}">
                  <a16:creationId xmlns:a16="http://schemas.microsoft.com/office/drawing/2014/main" id="{21ED058C-9AE3-4F6F-8EC1-CF71ABA7854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538660" y="3133535"/>
              <a:ext cx="2325436" cy="590931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/>
                <a:t>thank</a:t>
              </a:r>
            </a:p>
          </p:txBody>
        </p:sp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81ECAEC0-2EBD-4547-B5C3-C7AB667EDA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43975" y="6619875"/>
            <a:ext cx="3248025" cy="23812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481DBBEF-9B0D-41D0-BCD3-495FFBD788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alphaModFix amt="2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1624" y="4679403"/>
            <a:ext cx="8440376" cy="1310754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23ED609D-3632-4814-BF11-8AD74BEBBF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5" t="10322"/>
          <a:stretch/>
        </p:blipFill>
        <p:spPr>
          <a:xfrm rot="5400000">
            <a:off x="9251715" y="-837151"/>
            <a:ext cx="2103136" cy="3777438"/>
          </a:xfrm>
          <a:prstGeom prst="rect">
            <a:avLst/>
          </a:prstGeom>
        </p:spPr>
      </p:pic>
      <p:pic>
        <p:nvPicPr>
          <p:cNvPr id="91" name="Picture 90">
            <a:extLst>
              <a:ext uri="{FF2B5EF4-FFF2-40B4-BE49-F238E27FC236}">
                <a16:creationId xmlns:a16="http://schemas.microsoft.com/office/drawing/2014/main" id="{D5BD01E7-6916-47E5-B90B-2D3750E7BE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50" t="13430"/>
          <a:stretch/>
        </p:blipFill>
        <p:spPr>
          <a:xfrm rot="5400000" flipV="1">
            <a:off x="876945" y="-876943"/>
            <a:ext cx="1273792" cy="3027682"/>
          </a:xfrm>
          <a:prstGeom prst="rect">
            <a:avLst/>
          </a:prstGeom>
        </p:spPr>
      </p:pic>
      <p:pic>
        <p:nvPicPr>
          <p:cNvPr id="38" name="Picture 37">
            <a:hlinkClick r:id="rId8"/>
            <a:extLst>
              <a:ext uri="{FF2B5EF4-FFF2-40B4-BE49-F238E27FC236}">
                <a16:creationId xmlns:a16="http://schemas.microsoft.com/office/drawing/2014/main" id="{6C96BA37-A42C-42D5-9D7A-F22A1448F7E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48938" y="5879317"/>
            <a:ext cx="329213" cy="396274"/>
          </a:xfrm>
          <a:prstGeom prst="rect">
            <a:avLst/>
          </a:prstGeom>
        </p:spPr>
      </p:pic>
      <p:pic>
        <p:nvPicPr>
          <p:cNvPr id="52" name="Picture 51">
            <a:hlinkClick r:id="rId10"/>
            <a:extLst>
              <a:ext uri="{FF2B5EF4-FFF2-40B4-BE49-F238E27FC236}">
                <a16:creationId xmlns:a16="http://schemas.microsoft.com/office/drawing/2014/main" id="{7B0A66D6-16A5-4237-A88D-05AB2F1BE13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203673" y="5871207"/>
            <a:ext cx="335309" cy="396274"/>
          </a:xfrm>
          <a:prstGeom prst="rect">
            <a:avLst/>
          </a:prstGeom>
        </p:spPr>
      </p:pic>
      <p:pic>
        <p:nvPicPr>
          <p:cNvPr id="53" name="Picture 52">
            <a:hlinkClick r:id="rId12"/>
            <a:extLst>
              <a:ext uri="{FF2B5EF4-FFF2-40B4-BE49-F238E27FC236}">
                <a16:creationId xmlns:a16="http://schemas.microsoft.com/office/drawing/2014/main" id="{4CD33D67-5AAB-49B0-981E-C7AA8350A7C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664504" y="5871207"/>
            <a:ext cx="329213" cy="396274"/>
          </a:xfrm>
          <a:prstGeom prst="rect">
            <a:avLst/>
          </a:prstGeom>
        </p:spPr>
      </p:pic>
      <p:pic>
        <p:nvPicPr>
          <p:cNvPr id="54" name="Picture 53">
            <a:hlinkClick r:id="rId14"/>
            <a:extLst>
              <a:ext uri="{FF2B5EF4-FFF2-40B4-BE49-F238E27FC236}">
                <a16:creationId xmlns:a16="http://schemas.microsoft.com/office/drawing/2014/main" id="{68B666AB-3239-41A1-A705-1F00F02B3410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2119238" y="5871207"/>
            <a:ext cx="329213" cy="396274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91A04CD8-5708-409A-BF83-42BA422C7DE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88658" y="461079"/>
            <a:ext cx="3066773" cy="1243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2553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CB7DCEC-F3DB-44D5-AF50-7F0026FE46C2}"/>
              </a:ext>
            </a:extLst>
          </p:cNvPr>
          <p:cNvSpPr/>
          <p:nvPr userDrawn="1"/>
        </p:nvSpPr>
        <p:spPr>
          <a:xfrm>
            <a:off x="0" y="0"/>
            <a:ext cx="8385464" cy="6867144"/>
          </a:xfrm>
          <a:custGeom>
            <a:avLst/>
            <a:gdLst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8385464 w 8385464"/>
              <a:gd name="connsiteY2" fmla="*/ 6858000 h 6858000"/>
              <a:gd name="connsiteX3" fmla="*/ 0 w 8385464"/>
              <a:gd name="connsiteY3" fmla="*/ 6858000 h 6858000"/>
              <a:gd name="connsiteX4" fmla="*/ 0 w 8385464"/>
              <a:gd name="connsiteY4" fmla="*/ 0 h 6858000"/>
              <a:gd name="connsiteX0" fmla="*/ 0 w 8395855"/>
              <a:gd name="connsiteY0" fmla="*/ 0 h 6858000"/>
              <a:gd name="connsiteX1" fmla="*/ 8385464 w 8395855"/>
              <a:gd name="connsiteY1" fmla="*/ 0 h 6858000"/>
              <a:gd name="connsiteX2" fmla="*/ 8395855 w 8395855"/>
              <a:gd name="connsiteY2" fmla="*/ 3408218 h 6858000"/>
              <a:gd name="connsiteX3" fmla="*/ 8385464 w 8395855"/>
              <a:gd name="connsiteY3" fmla="*/ 6858000 h 6858000"/>
              <a:gd name="connsiteX4" fmla="*/ 0 w 8395855"/>
              <a:gd name="connsiteY4" fmla="*/ 6858000 h 6858000"/>
              <a:gd name="connsiteX5" fmla="*/ 0 w 8395855"/>
              <a:gd name="connsiteY5" fmla="*/ 0 h 6858000"/>
              <a:gd name="connsiteX0" fmla="*/ 0 w 8385468"/>
              <a:gd name="connsiteY0" fmla="*/ 0 h 6858000"/>
              <a:gd name="connsiteX1" fmla="*/ 8385464 w 8385468"/>
              <a:gd name="connsiteY1" fmla="*/ 0 h 6858000"/>
              <a:gd name="connsiteX2" fmla="*/ 6286501 w 8385468"/>
              <a:gd name="connsiteY2" fmla="*/ 3512127 h 6858000"/>
              <a:gd name="connsiteX3" fmla="*/ 8385464 w 8385468"/>
              <a:gd name="connsiteY3" fmla="*/ 6858000 h 6858000"/>
              <a:gd name="connsiteX4" fmla="*/ 0 w 8385468"/>
              <a:gd name="connsiteY4" fmla="*/ 6858000 h 6858000"/>
              <a:gd name="connsiteX5" fmla="*/ 0 w 8385468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74"/>
              <a:gd name="connsiteY0" fmla="*/ 0 h 6858000"/>
              <a:gd name="connsiteX1" fmla="*/ 8385464 w 8385474"/>
              <a:gd name="connsiteY1" fmla="*/ 0 h 6858000"/>
              <a:gd name="connsiteX2" fmla="*/ 6993083 w 8385474"/>
              <a:gd name="connsiteY2" fmla="*/ 3740727 h 6858000"/>
              <a:gd name="connsiteX3" fmla="*/ 8385464 w 8385474"/>
              <a:gd name="connsiteY3" fmla="*/ 6858000 h 6858000"/>
              <a:gd name="connsiteX4" fmla="*/ 0 w 8385474"/>
              <a:gd name="connsiteY4" fmla="*/ 6858000 h 6858000"/>
              <a:gd name="connsiteX5" fmla="*/ 0 w 8385474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86501 w 8385464"/>
              <a:gd name="connsiteY2" fmla="*/ 4634345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86501 w 8385464"/>
              <a:gd name="connsiteY2" fmla="*/ 4634345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71856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43503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55328 w 8385464"/>
              <a:gd name="connsiteY2" fmla="*/ 5029200 h 6858000"/>
              <a:gd name="connsiteX3" fmla="*/ 6843503 w 8385464"/>
              <a:gd name="connsiteY3" fmla="*/ 6853891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85464" h="6858000">
                <a:moveTo>
                  <a:pt x="0" y="0"/>
                </a:moveTo>
                <a:lnTo>
                  <a:pt x="8385464" y="0"/>
                </a:lnTo>
                <a:cubicBezTo>
                  <a:pt x="7879774" y="1572491"/>
                  <a:pt x="6951518" y="3158836"/>
                  <a:pt x="6255328" y="5029200"/>
                </a:cubicBezTo>
                <a:cubicBezTo>
                  <a:pt x="6698673" y="6345381"/>
                  <a:pt x="6317032" y="5402628"/>
                  <a:pt x="6843503" y="6853891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2E3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3EB79B0-1C65-4824-AE7E-4624F1BE36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9046" y="4210541"/>
            <a:ext cx="3252063" cy="1265243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2D99F2D6-A8E8-48C8-81DC-1B16354D0A70}"/>
              </a:ext>
            </a:extLst>
          </p:cNvPr>
          <p:cNvGrpSpPr/>
          <p:nvPr userDrawn="1"/>
        </p:nvGrpSpPr>
        <p:grpSpPr>
          <a:xfrm>
            <a:off x="4532198" y="-1714644"/>
            <a:ext cx="3827714" cy="9445752"/>
            <a:chOff x="4094048" y="-1695594"/>
            <a:chExt cx="3827714" cy="9445752"/>
          </a:xfrm>
        </p:grpSpPr>
        <p:sp>
          <p:nvSpPr>
            <p:cNvPr id="18" name="Freeform 4">
              <a:extLst>
                <a:ext uri="{FF2B5EF4-FFF2-40B4-BE49-F238E27FC236}">
                  <a16:creationId xmlns:a16="http://schemas.microsoft.com/office/drawing/2014/main" id="{EB2C8933-4D77-4DE0-A477-987E6E83C6AF}"/>
                </a:ext>
              </a:extLst>
            </p:cNvPr>
            <p:cNvSpPr/>
            <p:nvPr/>
          </p:nvSpPr>
          <p:spPr>
            <a:xfrm>
              <a:off x="4094048" y="4104058"/>
              <a:ext cx="2681459" cy="2788159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66989" h="1213426">
                  <a:moveTo>
                    <a:pt x="857693" y="0"/>
                  </a:moveTo>
                  <a:lnTo>
                    <a:pt x="1166989" y="1211531"/>
                  </a:lnTo>
                  <a:lnTo>
                    <a:pt x="0" y="1213426"/>
                  </a:lnTo>
                </a:path>
              </a:pathLst>
            </a:custGeom>
            <a:gradFill>
              <a:gsLst>
                <a:gs pos="2000">
                  <a:schemeClr val="bg2">
                    <a:lumMod val="50000"/>
                  </a:schemeClr>
                </a:gs>
                <a:gs pos="100000">
                  <a:schemeClr val="bg2"/>
                </a:gs>
              </a:gsLst>
              <a:lin ang="3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Isosceles Triangle 3">
              <a:extLst>
                <a:ext uri="{FF2B5EF4-FFF2-40B4-BE49-F238E27FC236}">
                  <a16:creationId xmlns:a16="http://schemas.microsoft.com/office/drawing/2014/main" id="{4F4EF7A4-035D-4172-AF61-5D3483B2916C}"/>
                </a:ext>
              </a:extLst>
            </p:cNvPr>
            <p:cNvSpPr/>
            <p:nvPr/>
          </p:nvSpPr>
          <p:spPr>
            <a:xfrm rot="13120470">
              <a:off x="5797893" y="-1695594"/>
              <a:ext cx="2123869" cy="9445752"/>
            </a:xfrm>
            <a:custGeom>
              <a:avLst/>
              <a:gdLst>
                <a:gd name="connsiteX0" fmla="*/ 0 w 1349298"/>
                <a:gd name="connsiteY0" fmla="*/ 5885253 h 5885253"/>
                <a:gd name="connsiteX1" fmla="*/ 674649 w 1349298"/>
                <a:gd name="connsiteY1" fmla="*/ 0 h 5885253"/>
                <a:gd name="connsiteX2" fmla="*/ 1349298 w 1349298"/>
                <a:gd name="connsiteY2" fmla="*/ 5885253 h 5885253"/>
                <a:gd name="connsiteX3" fmla="*/ 0 w 1349298"/>
                <a:gd name="connsiteY3" fmla="*/ 5885253 h 5885253"/>
                <a:gd name="connsiteX0" fmla="*/ 0 w 1304760"/>
                <a:gd name="connsiteY0" fmla="*/ 5885253 h 5885253"/>
                <a:gd name="connsiteX1" fmla="*/ 674649 w 1304760"/>
                <a:gd name="connsiteY1" fmla="*/ 0 h 5885253"/>
                <a:gd name="connsiteX2" fmla="*/ 1304760 w 1304760"/>
                <a:gd name="connsiteY2" fmla="*/ 5698299 h 5885253"/>
                <a:gd name="connsiteX3" fmla="*/ 0 w 1304760"/>
                <a:gd name="connsiteY3" fmla="*/ 5885253 h 5885253"/>
                <a:gd name="connsiteX0" fmla="*/ 0 w 1386992"/>
                <a:gd name="connsiteY0" fmla="*/ 5829786 h 5829786"/>
                <a:gd name="connsiteX1" fmla="*/ 756881 w 1386992"/>
                <a:gd name="connsiteY1" fmla="*/ 0 h 5829786"/>
                <a:gd name="connsiteX2" fmla="*/ 1386992 w 1386992"/>
                <a:gd name="connsiteY2" fmla="*/ 5698299 h 5829786"/>
                <a:gd name="connsiteX3" fmla="*/ 0 w 1386992"/>
                <a:gd name="connsiteY3" fmla="*/ 5829786 h 5829786"/>
                <a:gd name="connsiteX0" fmla="*/ 0 w 1613616"/>
                <a:gd name="connsiteY0" fmla="*/ 5273942 h 5698299"/>
                <a:gd name="connsiteX1" fmla="*/ 983505 w 1613616"/>
                <a:gd name="connsiteY1" fmla="*/ 0 h 5698299"/>
                <a:gd name="connsiteX2" fmla="*/ 1613616 w 1613616"/>
                <a:gd name="connsiteY2" fmla="*/ 5698299 h 5698299"/>
                <a:gd name="connsiteX3" fmla="*/ 0 w 1613616"/>
                <a:gd name="connsiteY3" fmla="*/ 5273942 h 5698299"/>
                <a:gd name="connsiteX0" fmla="*/ 0 w 2111499"/>
                <a:gd name="connsiteY0" fmla="*/ 5273942 h 5273942"/>
                <a:gd name="connsiteX1" fmla="*/ 983505 w 2111499"/>
                <a:gd name="connsiteY1" fmla="*/ 0 h 5273942"/>
                <a:gd name="connsiteX2" fmla="*/ 2111499 w 2111499"/>
                <a:gd name="connsiteY2" fmla="*/ 4721711 h 5273942"/>
                <a:gd name="connsiteX3" fmla="*/ 0 w 2111499"/>
                <a:gd name="connsiteY3" fmla="*/ 5273942 h 5273942"/>
                <a:gd name="connsiteX0" fmla="*/ 0 w 2111499"/>
                <a:gd name="connsiteY0" fmla="*/ 4717306 h 4717306"/>
                <a:gd name="connsiteX1" fmla="*/ 932758 w 2111499"/>
                <a:gd name="connsiteY1" fmla="*/ 0 h 4717306"/>
                <a:gd name="connsiteX2" fmla="*/ 2111499 w 2111499"/>
                <a:gd name="connsiteY2" fmla="*/ 4165075 h 4717306"/>
                <a:gd name="connsiteX3" fmla="*/ 0 w 2111499"/>
                <a:gd name="connsiteY3" fmla="*/ 4717306 h 4717306"/>
                <a:gd name="connsiteX0" fmla="*/ 0 w 3931298"/>
                <a:gd name="connsiteY0" fmla="*/ 4717306 h 4717306"/>
                <a:gd name="connsiteX1" fmla="*/ 932758 w 3931298"/>
                <a:gd name="connsiteY1" fmla="*/ 0 h 4717306"/>
                <a:gd name="connsiteX2" fmla="*/ 3931298 w 3931298"/>
                <a:gd name="connsiteY2" fmla="*/ 4480286 h 4717306"/>
                <a:gd name="connsiteX3" fmla="*/ 0 w 3931298"/>
                <a:gd name="connsiteY3" fmla="*/ 4717306 h 4717306"/>
                <a:gd name="connsiteX0" fmla="*/ 35679 w 2998540"/>
                <a:gd name="connsiteY0" fmla="*/ 5024381 h 5024381"/>
                <a:gd name="connsiteX1" fmla="*/ 0 w 2998540"/>
                <a:gd name="connsiteY1" fmla="*/ 0 h 5024381"/>
                <a:gd name="connsiteX2" fmla="*/ 2998540 w 2998540"/>
                <a:gd name="connsiteY2" fmla="*/ 4480286 h 5024381"/>
                <a:gd name="connsiteX3" fmla="*/ 35679 w 2998540"/>
                <a:gd name="connsiteY3" fmla="*/ 5024381 h 5024381"/>
                <a:gd name="connsiteX0" fmla="*/ 0 w 3359513"/>
                <a:gd name="connsiteY0" fmla="*/ 4923649 h 4923649"/>
                <a:gd name="connsiteX1" fmla="*/ 360973 w 3359513"/>
                <a:gd name="connsiteY1" fmla="*/ 0 h 4923649"/>
                <a:gd name="connsiteX2" fmla="*/ 3359513 w 3359513"/>
                <a:gd name="connsiteY2" fmla="*/ 4480286 h 4923649"/>
                <a:gd name="connsiteX3" fmla="*/ 0 w 3359513"/>
                <a:gd name="connsiteY3" fmla="*/ 4923649 h 4923649"/>
                <a:gd name="connsiteX0" fmla="*/ 0 w 3359513"/>
                <a:gd name="connsiteY0" fmla="*/ 4137435 h 4137435"/>
                <a:gd name="connsiteX1" fmla="*/ 1823306 w 3359513"/>
                <a:gd name="connsiteY1" fmla="*/ 0 h 4137435"/>
                <a:gd name="connsiteX2" fmla="*/ 3359513 w 3359513"/>
                <a:gd name="connsiteY2" fmla="*/ 3694072 h 4137435"/>
                <a:gd name="connsiteX3" fmla="*/ 0 w 3359513"/>
                <a:gd name="connsiteY3" fmla="*/ 4137435 h 4137435"/>
                <a:gd name="connsiteX0" fmla="*/ 0 w 3163954"/>
                <a:gd name="connsiteY0" fmla="*/ 4137435 h 4137435"/>
                <a:gd name="connsiteX1" fmla="*/ 1823306 w 3163954"/>
                <a:gd name="connsiteY1" fmla="*/ 0 h 4137435"/>
                <a:gd name="connsiteX2" fmla="*/ 3163954 w 3163954"/>
                <a:gd name="connsiteY2" fmla="*/ 3451242 h 4137435"/>
                <a:gd name="connsiteX3" fmla="*/ 0 w 3163954"/>
                <a:gd name="connsiteY3" fmla="*/ 4137435 h 4137435"/>
                <a:gd name="connsiteX0" fmla="*/ 0 w 2066613"/>
                <a:gd name="connsiteY0" fmla="*/ 4130703 h 4130703"/>
                <a:gd name="connsiteX1" fmla="*/ 725965 w 2066613"/>
                <a:gd name="connsiteY1" fmla="*/ 0 h 4130703"/>
                <a:gd name="connsiteX2" fmla="*/ 2066613 w 2066613"/>
                <a:gd name="connsiteY2" fmla="*/ 3451242 h 4130703"/>
                <a:gd name="connsiteX3" fmla="*/ 0 w 2066613"/>
                <a:gd name="connsiteY3" fmla="*/ 4130703 h 4130703"/>
                <a:gd name="connsiteX0" fmla="*/ 0 w 2119185"/>
                <a:gd name="connsiteY0" fmla="*/ 4203399 h 4203399"/>
                <a:gd name="connsiteX1" fmla="*/ 778537 w 2119185"/>
                <a:gd name="connsiteY1" fmla="*/ 0 h 4203399"/>
                <a:gd name="connsiteX2" fmla="*/ 2119185 w 2119185"/>
                <a:gd name="connsiteY2" fmla="*/ 3451242 h 4203399"/>
                <a:gd name="connsiteX3" fmla="*/ 0 w 2119185"/>
                <a:gd name="connsiteY3" fmla="*/ 4203399 h 4203399"/>
                <a:gd name="connsiteX0" fmla="*/ 0 w 2119185"/>
                <a:gd name="connsiteY0" fmla="*/ 4216619 h 4216619"/>
                <a:gd name="connsiteX1" fmla="*/ 816110 w 2119185"/>
                <a:gd name="connsiteY1" fmla="*/ 0 h 4216619"/>
                <a:gd name="connsiteX2" fmla="*/ 2119185 w 2119185"/>
                <a:gd name="connsiteY2" fmla="*/ 3464462 h 4216619"/>
                <a:gd name="connsiteX3" fmla="*/ 0 w 2119185"/>
                <a:gd name="connsiteY3" fmla="*/ 4216619 h 4216619"/>
                <a:gd name="connsiteX0" fmla="*/ 0 w 2119185"/>
                <a:gd name="connsiteY0" fmla="*/ 4184713 h 4184713"/>
                <a:gd name="connsiteX1" fmla="*/ 797400 w 2119185"/>
                <a:gd name="connsiteY1" fmla="*/ 0 h 4184713"/>
                <a:gd name="connsiteX2" fmla="*/ 2119185 w 2119185"/>
                <a:gd name="connsiteY2" fmla="*/ 3432556 h 4184713"/>
                <a:gd name="connsiteX3" fmla="*/ 0 w 2119185"/>
                <a:gd name="connsiteY3" fmla="*/ 4184713 h 4184713"/>
                <a:gd name="connsiteX0" fmla="*/ 0 w 2119185"/>
                <a:gd name="connsiteY0" fmla="*/ 4163102 h 4163102"/>
                <a:gd name="connsiteX1" fmla="*/ 807948 w 2119185"/>
                <a:gd name="connsiteY1" fmla="*/ 0 h 4163102"/>
                <a:gd name="connsiteX2" fmla="*/ 2119185 w 2119185"/>
                <a:gd name="connsiteY2" fmla="*/ 3410945 h 4163102"/>
                <a:gd name="connsiteX3" fmla="*/ 0 w 2119185"/>
                <a:gd name="connsiteY3" fmla="*/ 4163102 h 4163102"/>
                <a:gd name="connsiteX0" fmla="*/ 0 w 2123869"/>
                <a:gd name="connsiteY0" fmla="*/ 4163102 h 4163102"/>
                <a:gd name="connsiteX1" fmla="*/ 807948 w 2123869"/>
                <a:gd name="connsiteY1" fmla="*/ 0 h 4163102"/>
                <a:gd name="connsiteX2" fmla="*/ 2123869 w 2123869"/>
                <a:gd name="connsiteY2" fmla="*/ 3413517 h 4163102"/>
                <a:gd name="connsiteX3" fmla="*/ 0 w 2123869"/>
                <a:gd name="connsiteY3" fmla="*/ 4163102 h 4163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3869" h="4163102">
                  <a:moveTo>
                    <a:pt x="0" y="4163102"/>
                  </a:moveTo>
                  <a:lnTo>
                    <a:pt x="807948" y="0"/>
                  </a:lnTo>
                  <a:lnTo>
                    <a:pt x="2123869" y="3413517"/>
                  </a:lnTo>
                  <a:lnTo>
                    <a:pt x="0" y="4163102"/>
                  </a:lnTo>
                  <a:close/>
                </a:path>
              </a:pathLst>
            </a:custGeom>
            <a:gradFill>
              <a:gsLst>
                <a:gs pos="2000">
                  <a:schemeClr val="bg2">
                    <a:lumMod val="75000"/>
                  </a:schemeClr>
                </a:gs>
                <a:gs pos="100000">
                  <a:schemeClr val="bg2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1" y="1463040"/>
            <a:ext cx="5669280" cy="1935933"/>
          </a:xfrm>
        </p:spPr>
        <p:txBody>
          <a:bodyPr wrap="square" tIns="91440" anchor="ctr" anchorCtr="0">
            <a:noAutofit/>
          </a:bodyPr>
          <a:lstStyle>
            <a:lvl1pPr>
              <a:lnSpc>
                <a:spcPct val="80000"/>
              </a:lnSpc>
              <a:defRPr sz="5400" b="0" cap="all" baseline="0">
                <a:solidFill>
                  <a:schemeClr val="bg2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7702" y="4962602"/>
            <a:ext cx="4754880" cy="276999"/>
          </a:xfrm>
        </p:spPr>
        <p:txBody>
          <a:bodyPr wrap="square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bg1"/>
                </a:solidFill>
                <a:effectLst/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7702" y="5274168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27702" y="6268953"/>
            <a:ext cx="3749040" cy="193899"/>
          </a:xfrm>
        </p:spPr>
        <p:txBody>
          <a:bodyPr anchor="b" anchorCtr="0">
            <a:noAutofit/>
          </a:bodyPr>
          <a:lstStyle>
            <a:lvl1pPr marL="0" indent="0" algn="l">
              <a:spcBef>
                <a:spcPts val="0"/>
              </a:spcBef>
              <a:buFontTx/>
              <a:buNone/>
              <a:defRPr sz="14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2pPr>
            <a:lvl3pPr marL="9144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3pPr>
            <a:lvl4pPr marL="13716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4pPr>
            <a:lvl5pPr marL="18288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5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3754270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sldNum="0"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1577978" y="3820267"/>
            <a:ext cx="8162668" cy="812889"/>
          </a:xfrm>
        </p:spPr>
        <p:txBody>
          <a:bodyPr anchor="ctr" anchorCtr="0"/>
          <a:lstStyle>
            <a:lvl1pPr algn="l">
              <a:defRPr lang="en-US" sz="5400" dirty="0">
                <a:solidFill>
                  <a:schemeClr val="bg2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Click to </a:t>
            </a:r>
            <a:r>
              <a:rPr lang="en-US"/>
              <a:t>add title</a:t>
            </a:r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5FB7C47-AE33-4786-B8B7-7ECE41E10698}"/>
              </a:ext>
            </a:extLst>
          </p:cNvPr>
          <p:cNvGrpSpPr/>
          <p:nvPr userDrawn="1"/>
        </p:nvGrpSpPr>
        <p:grpSpPr>
          <a:xfrm>
            <a:off x="9260732" y="1084521"/>
            <a:ext cx="2966710" cy="5794744"/>
            <a:chOff x="9260732" y="1084521"/>
            <a:chExt cx="2966710" cy="5794744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65F1314-BF98-4A68-8138-2CB07DB72EEB}"/>
                </a:ext>
              </a:extLst>
            </p:cNvPr>
            <p:cNvSpPr/>
            <p:nvPr userDrawn="1"/>
          </p:nvSpPr>
          <p:spPr>
            <a:xfrm>
              <a:off x="10758656" y="1088910"/>
              <a:ext cx="1445441" cy="5774567"/>
            </a:xfrm>
            <a:custGeom>
              <a:avLst/>
              <a:gdLst>
                <a:gd name="connsiteX0" fmla="*/ 1424763 w 1456660"/>
                <a:gd name="connsiteY0" fmla="*/ 2604977 h 5794744"/>
                <a:gd name="connsiteX1" fmla="*/ 1456660 w 1456660"/>
                <a:gd name="connsiteY1" fmla="*/ 0 h 5794744"/>
                <a:gd name="connsiteX2" fmla="*/ 0 w 1456660"/>
                <a:gd name="connsiteY2" fmla="*/ 5794744 h 5794744"/>
                <a:gd name="connsiteX3" fmla="*/ 148856 w 1456660"/>
                <a:gd name="connsiteY3" fmla="*/ 5773479 h 5794744"/>
                <a:gd name="connsiteX4" fmla="*/ 1424763 w 1456660"/>
                <a:gd name="connsiteY4" fmla="*/ 2604977 h 5794744"/>
                <a:gd name="connsiteX0" fmla="*/ 1424763 w 1456660"/>
                <a:gd name="connsiteY0" fmla="*/ 2604977 h 5777982"/>
                <a:gd name="connsiteX1" fmla="*/ 1456660 w 1456660"/>
                <a:gd name="connsiteY1" fmla="*/ 0 h 5777982"/>
                <a:gd name="connsiteX2" fmla="*/ 0 w 1456660"/>
                <a:gd name="connsiteY2" fmla="*/ 5777982 h 5777982"/>
                <a:gd name="connsiteX3" fmla="*/ 148856 w 1456660"/>
                <a:gd name="connsiteY3" fmla="*/ 5773479 h 5777982"/>
                <a:gd name="connsiteX4" fmla="*/ 1424763 w 1456660"/>
                <a:gd name="connsiteY4" fmla="*/ 2604977 h 5777982"/>
                <a:gd name="connsiteX0" fmla="*/ 1424763 w 1434221"/>
                <a:gd name="connsiteY0" fmla="*/ 2593803 h 5766808"/>
                <a:gd name="connsiteX1" fmla="*/ 1434221 w 1434221"/>
                <a:gd name="connsiteY1" fmla="*/ 0 h 5766808"/>
                <a:gd name="connsiteX2" fmla="*/ 0 w 1434221"/>
                <a:gd name="connsiteY2" fmla="*/ 5766808 h 5766808"/>
                <a:gd name="connsiteX3" fmla="*/ 148856 w 1434221"/>
                <a:gd name="connsiteY3" fmla="*/ 5762305 h 5766808"/>
                <a:gd name="connsiteX4" fmla="*/ 1424763 w 1434221"/>
                <a:gd name="connsiteY4" fmla="*/ 2593803 h 5766808"/>
                <a:gd name="connsiteX0" fmla="*/ 1435983 w 1445441"/>
                <a:gd name="connsiteY0" fmla="*/ 2593803 h 5762305"/>
                <a:gd name="connsiteX1" fmla="*/ 1445441 w 1445441"/>
                <a:gd name="connsiteY1" fmla="*/ 0 h 5762305"/>
                <a:gd name="connsiteX2" fmla="*/ 0 w 1445441"/>
                <a:gd name="connsiteY2" fmla="*/ 5750047 h 5762305"/>
                <a:gd name="connsiteX3" fmla="*/ 160076 w 1445441"/>
                <a:gd name="connsiteY3" fmla="*/ 5762305 h 5762305"/>
                <a:gd name="connsiteX4" fmla="*/ 1435983 w 1445441"/>
                <a:gd name="connsiteY4" fmla="*/ 2593803 h 5762305"/>
                <a:gd name="connsiteX0" fmla="*/ 1435983 w 1445441"/>
                <a:gd name="connsiteY0" fmla="*/ 2593803 h 5751132"/>
                <a:gd name="connsiteX1" fmla="*/ 1445441 w 1445441"/>
                <a:gd name="connsiteY1" fmla="*/ 0 h 5751132"/>
                <a:gd name="connsiteX2" fmla="*/ 0 w 1445441"/>
                <a:gd name="connsiteY2" fmla="*/ 5750047 h 5751132"/>
                <a:gd name="connsiteX3" fmla="*/ 160076 w 1445441"/>
                <a:gd name="connsiteY3" fmla="*/ 5751132 h 5751132"/>
                <a:gd name="connsiteX4" fmla="*/ 1435983 w 1445441"/>
                <a:gd name="connsiteY4" fmla="*/ 2593803 h 575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5441" h="5751132">
                  <a:moveTo>
                    <a:pt x="1435983" y="2593803"/>
                  </a:moveTo>
                  <a:cubicBezTo>
                    <a:pt x="1439136" y="1729202"/>
                    <a:pt x="1442288" y="864601"/>
                    <a:pt x="1445441" y="0"/>
                  </a:cubicBezTo>
                  <a:lnTo>
                    <a:pt x="0" y="5750047"/>
                  </a:lnTo>
                  <a:lnTo>
                    <a:pt x="160076" y="5751132"/>
                  </a:lnTo>
                  <a:lnTo>
                    <a:pt x="1435983" y="2593803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68000">
                  <a:srgbClr val="5BA23C"/>
                </a:gs>
              </a:gsLst>
              <a:lin ang="21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21E371F-1A59-474E-B95B-89195D83A3E8}"/>
                </a:ext>
              </a:extLst>
            </p:cNvPr>
            <p:cNvSpPr/>
            <p:nvPr userDrawn="1"/>
          </p:nvSpPr>
          <p:spPr>
            <a:xfrm>
              <a:off x="10019490" y="3789410"/>
              <a:ext cx="1556426" cy="3083668"/>
            </a:xfrm>
            <a:custGeom>
              <a:avLst/>
              <a:gdLst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0065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0065 w 1556426"/>
                <a:gd name="connsiteY3" fmla="*/ 3073940 h 3083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426" h="3083668">
                  <a:moveTo>
                    <a:pt x="740065" y="3073940"/>
                  </a:moveTo>
                  <a:lnTo>
                    <a:pt x="0" y="3083668"/>
                  </a:lnTo>
                  <a:lnTo>
                    <a:pt x="1556426" y="0"/>
                  </a:lnTo>
                  <a:lnTo>
                    <a:pt x="740065" y="3073940"/>
                  </a:lnTo>
                  <a:close/>
                </a:path>
              </a:pathLst>
            </a:custGeom>
            <a:gradFill>
              <a:gsLst>
                <a:gs pos="97000">
                  <a:srgbClr val="62B53F"/>
                </a:gs>
                <a:gs pos="100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E17FC41-0F0D-4F05-888B-05BC3B984146}"/>
                </a:ext>
              </a:extLst>
            </p:cNvPr>
            <p:cNvSpPr/>
            <p:nvPr userDrawn="1"/>
          </p:nvSpPr>
          <p:spPr>
            <a:xfrm>
              <a:off x="9260732" y="3322482"/>
              <a:ext cx="2422187" cy="3550596"/>
            </a:xfrm>
            <a:custGeom>
              <a:avLst/>
              <a:gdLst>
                <a:gd name="connsiteX0" fmla="*/ 2373549 w 2373549"/>
                <a:gd name="connsiteY0" fmla="*/ 0 h 3550596"/>
                <a:gd name="connsiteX1" fmla="*/ 2237362 w 2373549"/>
                <a:gd name="connsiteY1" fmla="*/ 651753 h 3550596"/>
                <a:gd name="connsiteX2" fmla="*/ 778213 w 2373549"/>
                <a:gd name="connsiteY2" fmla="*/ 3531141 h 3550596"/>
                <a:gd name="connsiteX3" fmla="*/ 0 w 2373549"/>
                <a:gd name="connsiteY3" fmla="*/ 3550596 h 3550596"/>
                <a:gd name="connsiteX4" fmla="*/ 2373549 w 2373549"/>
                <a:gd name="connsiteY4" fmla="*/ 0 h 3550596"/>
                <a:gd name="connsiteX0" fmla="*/ 2422187 w 2422187"/>
                <a:gd name="connsiteY0" fmla="*/ 0 h 3540868"/>
                <a:gd name="connsiteX1" fmla="*/ 2237362 w 2422187"/>
                <a:gd name="connsiteY1" fmla="*/ 642025 h 3540868"/>
                <a:gd name="connsiteX2" fmla="*/ 778213 w 2422187"/>
                <a:gd name="connsiteY2" fmla="*/ 3521413 h 3540868"/>
                <a:gd name="connsiteX3" fmla="*/ 0 w 2422187"/>
                <a:gd name="connsiteY3" fmla="*/ 3540868 h 3540868"/>
                <a:gd name="connsiteX4" fmla="*/ 2422187 w 2422187"/>
                <a:gd name="connsiteY4" fmla="*/ 0 h 3540868"/>
                <a:gd name="connsiteX0" fmla="*/ 2422187 w 2422187"/>
                <a:gd name="connsiteY0" fmla="*/ 0 h 3550596"/>
                <a:gd name="connsiteX1" fmla="*/ 2237362 w 2422187"/>
                <a:gd name="connsiteY1" fmla="*/ 642025 h 3550596"/>
                <a:gd name="connsiteX2" fmla="*/ 768485 w 2422187"/>
                <a:gd name="connsiteY2" fmla="*/ 3550596 h 3550596"/>
                <a:gd name="connsiteX3" fmla="*/ 0 w 2422187"/>
                <a:gd name="connsiteY3" fmla="*/ 3540868 h 3550596"/>
                <a:gd name="connsiteX4" fmla="*/ 2422187 w 2422187"/>
                <a:gd name="connsiteY4" fmla="*/ 0 h 3550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2187" h="3550596">
                  <a:moveTo>
                    <a:pt x="2422187" y="0"/>
                  </a:moveTo>
                  <a:lnTo>
                    <a:pt x="2237362" y="642025"/>
                  </a:lnTo>
                  <a:lnTo>
                    <a:pt x="768485" y="3550596"/>
                  </a:lnTo>
                  <a:lnTo>
                    <a:pt x="0" y="3540868"/>
                  </a:lnTo>
                  <a:lnTo>
                    <a:pt x="2422187" y="0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71000">
                  <a:srgbClr val="5BA23C"/>
                </a:gs>
              </a:gsLst>
              <a:lin ang="17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1" name="Right Triangle 20">
              <a:extLst>
                <a:ext uri="{FF2B5EF4-FFF2-40B4-BE49-F238E27FC236}">
                  <a16:creationId xmlns:a16="http://schemas.microsoft.com/office/drawing/2014/main" id="{890D0B16-11C5-4D6A-AA98-2355BA19EA7B}"/>
                </a:ext>
              </a:extLst>
            </p:cNvPr>
            <p:cNvSpPr/>
            <p:nvPr userDrawn="1"/>
          </p:nvSpPr>
          <p:spPr>
            <a:xfrm flipH="1">
              <a:off x="10871603" y="3370178"/>
              <a:ext cx="1327484" cy="3501998"/>
            </a:xfrm>
            <a:prstGeom prst="rtTriangle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A764A69-E67E-4D16-BC4B-51FC448F28CB}"/>
                </a:ext>
              </a:extLst>
            </p:cNvPr>
            <p:cNvSpPr/>
            <p:nvPr userDrawn="1"/>
          </p:nvSpPr>
          <p:spPr>
            <a:xfrm>
              <a:off x="10738884" y="1084521"/>
              <a:ext cx="1488558" cy="5794744"/>
            </a:xfrm>
            <a:custGeom>
              <a:avLst/>
              <a:gdLst>
                <a:gd name="connsiteX0" fmla="*/ 1446028 w 1488558"/>
                <a:gd name="connsiteY0" fmla="*/ 2658139 h 5794744"/>
                <a:gd name="connsiteX1" fmla="*/ 1446028 w 1488558"/>
                <a:gd name="connsiteY1" fmla="*/ 0 h 5794744"/>
                <a:gd name="connsiteX2" fmla="*/ 0 w 1488558"/>
                <a:gd name="connsiteY2" fmla="*/ 5794744 h 5794744"/>
                <a:gd name="connsiteX3" fmla="*/ 170121 w 1488558"/>
                <a:gd name="connsiteY3" fmla="*/ 5784112 h 5794744"/>
                <a:gd name="connsiteX4" fmla="*/ 1488558 w 1488558"/>
                <a:gd name="connsiteY4" fmla="*/ 2551814 h 5794744"/>
                <a:gd name="connsiteX5" fmla="*/ 1488558 w 1488558"/>
                <a:gd name="connsiteY5" fmla="*/ 2551814 h 5794744"/>
                <a:gd name="connsiteX6" fmla="*/ 1488558 w 1488558"/>
                <a:gd name="connsiteY6" fmla="*/ 2551814 h 579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8558" h="5794744">
                  <a:moveTo>
                    <a:pt x="1446028" y="2658139"/>
                  </a:moveTo>
                  <a:lnTo>
                    <a:pt x="1446028" y="0"/>
                  </a:lnTo>
                  <a:lnTo>
                    <a:pt x="0" y="5794744"/>
                  </a:lnTo>
                  <a:lnTo>
                    <a:pt x="170121" y="5784112"/>
                  </a:lnTo>
                  <a:lnTo>
                    <a:pt x="1488558" y="2551814"/>
                  </a:lnTo>
                  <a:lnTo>
                    <a:pt x="1488558" y="2551814"/>
                  </a:lnTo>
                  <a:lnTo>
                    <a:pt x="1488558" y="2551814"/>
                  </a:lnTo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Rectangle 6"/>
          <p:cNvSpPr txBox="1">
            <a:spLocks noChangeArrowheads="1"/>
          </p:cNvSpPr>
          <p:nvPr/>
        </p:nvSpPr>
        <p:spPr bwMode="white">
          <a:xfrm>
            <a:off x="11247120" y="6629401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1086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pPr marL="0" marR="0" lvl="0" indent="0" algn="r" defTabSz="10867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MS PGothic" pitchFamily="34" charset="-128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2938D33-69AE-4EA8-B1F3-AEB045BF25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60" y="312672"/>
            <a:ext cx="856680" cy="332728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D3598208-AA80-467D-8193-8E836964952A}"/>
              </a:ext>
            </a:extLst>
          </p:cNvPr>
          <p:cNvGrpSpPr/>
          <p:nvPr userDrawn="1"/>
        </p:nvGrpSpPr>
        <p:grpSpPr>
          <a:xfrm>
            <a:off x="-6515" y="-465745"/>
            <a:ext cx="2284497" cy="7335777"/>
            <a:chOff x="-6515" y="-465745"/>
            <a:chExt cx="2284497" cy="7335777"/>
          </a:xfrm>
        </p:grpSpPr>
        <p:sp>
          <p:nvSpPr>
            <p:cNvPr id="15" name="Rectangle 4">
              <a:extLst>
                <a:ext uri="{FF2B5EF4-FFF2-40B4-BE49-F238E27FC236}">
                  <a16:creationId xmlns:a16="http://schemas.microsoft.com/office/drawing/2014/main" id="{46E2C9E0-78F4-4874-8B92-08E2A7C0061D}"/>
                </a:ext>
              </a:extLst>
            </p:cNvPr>
            <p:cNvSpPr/>
            <p:nvPr/>
          </p:nvSpPr>
          <p:spPr>
            <a:xfrm>
              <a:off x="0" y="-12032"/>
              <a:ext cx="2277982" cy="6870032"/>
            </a:xfrm>
            <a:custGeom>
              <a:avLst/>
              <a:gdLst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8385464 w 8385464"/>
                <a:gd name="connsiteY2" fmla="*/ 6858000 h 6858000"/>
                <a:gd name="connsiteX3" fmla="*/ 0 w 8385464"/>
                <a:gd name="connsiteY3" fmla="*/ 6858000 h 6858000"/>
                <a:gd name="connsiteX4" fmla="*/ 0 w 8385464"/>
                <a:gd name="connsiteY4" fmla="*/ 0 h 6858000"/>
                <a:gd name="connsiteX0" fmla="*/ 0 w 8395855"/>
                <a:gd name="connsiteY0" fmla="*/ 0 h 6858000"/>
                <a:gd name="connsiteX1" fmla="*/ 8385464 w 8395855"/>
                <a:gd name="connsiteY1" fmla="*/ 0 h 6858000"/>
                <a:gd name="connsiteX2" fmla="*/ 8395855 w 8395855"/>
                <a:gd name="connsiteY2" fmla="*/ 3408218 h 6858000"/>
                <a:gd name="connsiteX3" fmla="*/ 8385464 w 8395855"/>
                <a:gd name="connsiteY3" fmla="*/ 6858000 h 6858000"/>
                <a:gd name="connsiteX4" fmla="*/ 0 w 8395855"/>
                <a:gd name="connsiteY4" fmla="*/ 6858000 h 6858000"/>
                <a:gd name="connsiteX5" fmla="*/ 0 w 8395855"/>
                <a:gd name="connsiteY5" fmla="*/ 0 h 6858000"/>
                <a:gd name="connsiteX0" fmla="*/ 0 w 8385468"/>
                <a:gd name="connsiteY0" fmla="*/ 0 h 6858000"/>
                <a:gd name="connsiteX1" fmla="*/ 8385464 w 8385468"/>
                <a:gd name="connsiteY1" fmla="*/ 0 h 6858000"/>
                <a:gd name="connsiteX2" fmla="*/ 6286501 w 8385468"/>
                <a:gd name="connsiteY2" fmla="*/ 3512127 h 6858000"/>
                <a:gd name="connsiteX3" fmla="*/ 8385464 w 8385468"/>
                <a:gd name="connsiteY3" fmla="*/ 6858000 h 6858000"/>
                <a:gd name="connsiteX4" fmla="*/ 0 w 8385468"/>
                <a:gd name="connsiteY4" fmla="*/ 6858000 h 6858000"/>
                <a:gd name="connsiteX5" fmla="*/ 0 w 8385468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74"/>
                <a:gd name="connsiteY0" fmla="*/ 0 h 6858000"/>
                <a:gd name="connsiteX1" fmla="*/ 8385464 w 8385474"/>
                <a:gd name="connsiteY1" fmla="*/ 0 h 6858000"/>
                <a:gd name="connsiteX2" fmla="*/ 6993083 w 8385474"/>
                <a:gd name="connsiteY2" fmla="*/ 3740727 h 6858000"/>
                <a:gd name="connsiteX3" fmla="*/ 8385464 w 8385474"/>
                <a:gd name="connsiteY3" fmla="*/ 6858000 h 6858000"/>
                <a:gd name="connsiteX4" fmla="*/ 0 w 8385474"/>
                <a:gd name="connsiteY4" fmla="*/ 6858000 h 6858000"/>
                <a:gd name="connsiteX5" fmla="*/ 0 w 8385474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286501 w 8385464"/>
                <a:gd name="connsiteY2" fmla="*/ 4634345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86501 w 8385464"/>
                <a:gd name="connsiteY2" fmla="*/ 4634345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43698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6255328 w 11367745"/>
                <a:gd name="connsiteY2" fmla="*/ 504123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3507531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0032"/>
                <a:gd name="connsiteX1" fmla="*/ 11367745 w 11367745"/>
                <a:gd name="connsiteY1" fmla="*/ 0 h 6870032"/>
                <a:gd name="connsiteX2" fmla="*/ 3507531 w 11367745"/>
                <a:gd name="connsiteY2" fmla="*/ 4207042 h 6870032"/>
                <a:gd name="connsiteX3" fmla="*/ 3976167 w 11367745"/>
                <a:gd name="connsiteY3" fmla="*/ 6839042 h 6870032"/>
                <a:gd name="connsiteX4" fmla="*/ 0 w 11367745"/>
                <a:gd name="connsiteY4" fmla="*/ 6870032 h 6870032"/>
                <a:gd name="connsiteX5" fmla="*/ 0 w 11367745"/>
                <a:gd name="connsiteY5" fmla="*/ 12032 h 6870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67745" h="6870032">
                  <a:moveTo>
                    <a:pt x="0" y="12032"/>
                  </a:moveTo>
                  <a:lnTo>
                    <a:pt x="11367745" y="0"/>
                  </a:lnTo>
                  <a:cubicBezTo>
                    <a:pt x="9493718" y="1572491"/>
                    <a:pt x="4203722" y="2709657"/>
                    <a:pt x="3507531" y="4207042"/>
                  </a:cubicBezTo>
                  <a:cubicBezTo>
                    <a:pt x="3950876" y="5523223"/>
                    <a:pt x="3449696" y="5387779"/>
                    <a:pt x="3976167" y="6839042"/>
                  </a:cubicBezTo>
                  <a:lnTo>
                    <a:pt x="0" y="6870032"/>
                  </a:lnTo>
                  <a:lnTo>
                    <a:pt x="0" y="12032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Right Triangle 3">
              <a:extLst>
                <a:ext uri="{FF2B5EF4-FFF2-40B4-BE49-F238E27FC236}">
                  <a16:creationId xmlns:a16="http://schemas.microsoft.com/office/drawing/2014/main" id="{56990D95-B6C6-4723-82D2-F9651330B7FE}"/>
                </a:ext>
              </a:extLst>
            </p:cNvPr>
            <p:cNvSpPr/>
            <p:nvPr/>
          </p:nvSpPr>
          <p:spPr>
            <a:xfrm flipH="1">
              <a:off x="-6515" y="4242391"/>
              <a:ext cx="712079" cy="2616194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350874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350874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692518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64691 h 2626242"/>
                <a:gd name="connsiteX3" fmla="*/ 692518 w 712079"/>
                <a:gd name="connsiteY3" fmla="*/ 2626242 h 2626242"/>
                <a:gd name="connsiteX0" fmla="*/ 702567 w 712079"/>
                <a:gd name="connsiteY0" fmla="*/ 2616194 h 2616194"/>
                <a:gd name="connsiteX1" fmla="*/ 0 w 712079"/>
                <a:gd name="connsiteY1" fmla="*/ 0 h 2616194"/>
                <a:gd name="connsiteX2" fmla="*/ 712079 w 712079"/>
                <a:gd name="connsiteY2" fmla="*/ 1264691 h 2616194"/>
                <a:gd name="connsiteX3" fmla="*/ 702567 w 712079"/>
                <a:gd name="connsiteY3" fmla="*/ 2616194 h 2616194"/>
                <a:gd name="connsiteX0" fmla="*/ 702567 w 712079"/>
                <a:gd name="connsiteY0" fmla="*/ 2616194 h 2616194"/>
                <a:gd name="connsiteX1" fmla="*/ 605080 w 712079"/>
                <a:gd name="connsiteY1" fmla="*/ 2258893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  <a:gd name="connsiteX0" fmla="*/ 702567 w 712079"/>
                <a:gd name="connsiteY0" fmla="*/ 2616194 h 2616194"/>
                <a:gd name="connsiteX1" fmla="*/ 665371 w 712079"/>
                <a:gd name="connsiteY1" fmla="*/ 2615609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2079" h="2616194">
                  <a:moveTo>
                    <a:pt x="702567" y="2616194"/>
                  </a:moveTo>
                  <a:lnTo>
                    <a:pt x="665371" y="2615609"/>
                  </a:lnTo>
                  <a:lnTo>
                    <a:pt x="0" y="0"/>
                  </a:lnTo>
                  <a:lnTo>
                    <a:pt x="712079" y="1264691"/>
                  </a:lnTo>
                  <a:cubicBezTo>
                    <a:pt x="708908" y="1715192"/>
                    <a:pt x="705738" y="2165693"/>
                    <a:pt x="702567" y="2616194"/>
                  </a:cubicBezTo>
                  <a:close/>
                </a:path>
              </a:pathLst>
            </a:custGeom>
            <a:gradFill>
              <a:gsLst>
                <a:gs pos="2000">
                  <a:srgbClr val="62B53F"/>
                </a:gs>
                <a:gs pos="52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Right Triangle 3">
              <a:extLst>
                <a:ext uri="{FF2B5EF4-FFF2-40B4-BE49-F238E27FC236}">
                  <a16:creationId xmlns:a16="http://schemas.microsoft.com/office/drawing/2014/main" id="{EC9B2ECA-C14A-4E87-A3F3-80BB4481D7A8}"/>
                </a:ext>
              </a:extLst>
            </p:cNvPr>
            <p:cNvSpPr/>
            <p:nvPr/>
          </p:nvSpPr>
          <p:spPr>
            <a:xfrm>
              <a:off x="16636" y="3818487"/>
              <a:ext cx="963639" cy="3051545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3639" h="3051545">
                  <a:moveTo>
                    <a:pt x="0" y="3051545"/>
                  </a:moveTo>
                  <a:lnTo>
                    <a:pt x="754912" y="0"/>
                  </a:lnTo>
                  <a:lnTo>
                    <a:pt x="963639" y="3051545"/>
                  </a:lnTo>
                  <a:lnTo>
                    <a:pt x="0" y="3051545"/>
                  </a:lnTo>
                  <a:close/>
                </a:path>
              </a:pathLst>
            </a:custGeom>
            <a:gradFill>
              <a:gsLst>
                <a:gs pos="27000">
                  <a:srgbClr val="5EAC3E"/>
                </a:gs>
                <a:gs pos="64000">
                  <a:srgbClr val="67BD4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4" name="Right Triangle 3">
              <a:extLst>
                <a:ext uri="{FF2B5EF4-FFF2-40B4-BE49-F238E27FC236}">
                  <a16:creationId xmlns:a16="http://schemas.microsoft.com/office/drawing/2014/main" id="{9AFA1F9D-E0DB-427A-8D67-2A3C457C3A94}"/>
                </a:ext>
              </a:extLst>
            </p:cNvPr>
            <p:cNvSpPr/>
            <p:nvPr/>
          </p:nvSpPr>
          <p:spPr>
            <a:xfrm rot="12173926">
              <a:off x="1003907" y="-465745"/>
              <a:ext cx="1014731" cy="6395388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1014731"/>
                <a:gd name="connsiteY0" fmla="*/ 3477101 h 3477101"/>
                <a:gd name="connsiteX1" fmla="*/ 806004 w 1014731"/>
                <a:gd name="connsiteY1" fmla="*/ 0 h 3477101"/>
                <a:gd name="connsiteX2" fmla="*/ 1014731 w 1014731"/>
                <a:gd name="connsiteY2" fmla="*/ 3051545 h 3477101"/>
                <a:gd name="connsiteX3" fmla="*/ 0 w 1014731"/>
                <a:gd name="connsiteY3" fmla="*/ 3477101 h 3477101"/>
                <a:gd name="connsiteX0" fmla="*/ 0 w 1014731"/>
                <a:gd name="connsiteY0" fmla="*/ 5974885 h 5974885"/>
                <a:gd name="connsiteX1" fmla="*/ 789755 w 1014731"/>
                <a:gd name="connsiteY1" fmla="*/ 0 h 5974885"/>
                <a:gd name="connsiteX2" fmla="*/ 1014731 w 1014731"/>
                <a:gd name="connsiteY2" fmla="*/ 5549329 h 5974885"/>
                <a:gd name="connsiteX3" fmla="*/ 0 w 1014731"/>
                <a:gd name="connsiteY3" fmla="*/ 5974885 h 5974885"/>
                <a:gd name="connsiteX0" fmla="*/ 0 w 1014731"/>
                <a:gd name="connsiteY0" fmla="*/ 7343100 h 7343100"/>
                <a:gd name="connsiteX1" fmla="*/ 978069 w 1014731"/>
                <a:gd name="connsiteY1" fmla="*/ 0 h 7343100"/>
                <a:gd name="connsiteX2" fmla="*/ 1014731 w 1014731"/>
                <a:gd name="connsiteY2" fmla="*/ 6917544 h 7343100"/>
                <a:gd name="connsiteX3" fmla="*/ 0 w 1014731"/>
                <a:gd name="connsiteY3" fmla="*/ 7343100 h 7343100"/>
                <a:gd name="connsiteX0" fmla="*/ 0 w 1014731"/>
                <a:gd name="connsiteY0" fmla="*/ 7503364 h 7503364"/>
                <a:gd name="connsiteX1" fmla="*/ 945205 w 1014731"/>
                <a:gd name="connsiteY1" fmla="*/ 0 h 7503364"/>
                <a:gd name="connsiteX2" fmla="*/ 1014731 w 1014731"/>
                <a:gd name="connsiteY2" fmla="*/ 7077808 h 7503364"/>
                <a:gd name="connsiteX3" fmla="*/ 0 w 1014731"/>
                <a:gd name="connsiteY3" fmla="*/ 7503364 h 7503364"/>
                <a:gd name="connsiteX0" fmla="*/ 0 w 1014731"/>
                <a:gd name="connsiteY0" fmla="*/ 7503364 h 7503364"/>
                <a:gd name="connsiteX1" fmla="*/ 762176 w 1014731"/>
                <a:gd name="connsiteY1" fmla="*/ 13606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7503364 h 7503364"/>
                <a:gd name="connsiteX1" fmla="*/ 793220 w 1014731"/>
                <a:gd name="connsiteY1" fmla="*/ 12275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6275800 h 6275800"/>
                <a:gd name="connsiteX1" fmla="*/ 793220 w 1014731"/>
                <a:gd name="connsiteY1" fmla="*/ 0 h 6275800"/>
                <a:gd name="connsiteX2" fmla="*/ 963930 w 1014731"/>
                <a:gd name="connsiteY2" fmla="*/ 237103 h 6275800"/>
                <a:gd name="connsiteX3" fmla="*/ 1014731 w 1014731"/>
                <a:gd name="connsiteY3" fmla="*/ 5850244 h 6275800"/>
                <a:gd name="connsiteX4" fmla="*/ 0 w 1014731"/>
                <a:gd name="connsiteY4" fmla="*/ 6275800 h 6275800"/>
                <a:gd name="connsiteX0" fmla="*/ 0 w 1014731"/>
                <a:gd name="connsiteY0" fmla="*/ 6321680 h 6321680"/>
                <a:gd name="connsiteX1" fmla="*/ 850196 w 1014731"/>
                <a:gd name="connsiteY1" fmla="*/ 0 h 6321680"/>
                <a:gd name="connsiteX2" fmla="*/ 963930 w 1014731"/>
                <a:gd name="connsiteY2" fmla="*/ 282983 h 6321680"/>
                <a:gd name="connsiteX3" fmla="*/ 1014731 w 1014731"/>
                <a:gd name="connsiteY3" fmla="*/ 5896124 h 6321680"/>
                <a:gd name="connsiteX4" fmla="*/ 0 w 1014731"/>
                <a:gd name="connsiteY4" fmla="*/ 6321680 h 6321680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3930 w 1014731"/>
                <a:gd name="connsiteY2" fmla="*/ 299024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1456 w 1014731"/>
                <a:gd name="connsiteY2" fmla="*/ 267345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61456 w 1014731"/>
                <a:gd name="connsiteY2" fmla="*/ 2732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5417 w 1014731"/>
                <a:gd name="connsiteY2" fmla="*/ 3127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37597 w 1014731"/>
                <a:gd name="connsiteY2" fmla="*/ 294197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2225 w 1014731"/>
                <a:gd name="connsiteY2" fmla="*/ 292242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95388 h 6395388"/>
                <a:gd name="connsiteX1" fmla="*/ 796930 w 1014731"/>
                <a:gd name="connsiteY1" fmla="*/ 0 h 6395388"/>
                <a:gd name="connsiteX2" fmla="*/ 942225 w 1014731"/>
                <a:gd name="connsiteY2" fmla="*/ 344044 h 6395388"/>
                <a:gd name="connsiteX3" fmla="*/ 1014731 w 1014731"/>
                <a:gd name="connsiteY3" fmla="*/ 5969832 h 6395388"/>
                <a:gd name="connsiteX4" fmla="*/ 0 w 1014731"/>
                <a:gd name="connsiteY4" fmla="*/ 6395388 h 6395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4731" h="6395388">
                  <a:moveTo>
                    <a:pt x="0" y="6395388"/>
                  </a:moveTo>
                  <a:lnTo>
                    <a:pt x="796930" y="0"/>
                  </a:lnTo>
                  <a:lnTo>
                    <a:pt x="942225" y="344044"/>
                  </a:lnTo>
                  <a:lnTo>
                    <a:pt x="1014731" y="5969832"/>
                  </a:lnTo>
                  <a:lnTo>
                    <a:pt x="0" y="6395388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100000">
                  <a:srgbClr val="5BA23C"/>
                </a:gs>
              </a:gsLst>
              <a:lin ang="21594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48852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90AAAFC-EC6A-4B79-8E5C-2625B3C1AA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BB3FF62-BEB4-4BBC-9BB1-5AA72B48CF38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E7305282-8257-43B2-AEB0-4EECC265B6D8}"/>
              </a:ext>
            </a:extLst>
          </p:cNvPr>
          <p:cNvSpPr/>
          <p:nvPr userDrawn="1"/>
        </p:nvSpPr>
        <p:spPr>
          <a:xfrm>
            <a:off x="1817683" y="2214235"/>
            <a:ext cx="5236260" cy="1991381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2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2 lines of tex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4250D6-FEAA-416E-9521-0C7E8FEDCFB1}"/>
              </a:ext>
            </a:extLst>
          </p:cNvPr>
          <p:cNvGrpSpPr/>
          <p:nvPr userDrawn="1"/>
        </p:nvGrpSpPr>
        <p:grpSpPr>
          <a:xfrm>
            <a:off x="0" y="2784626"/>
            <a:ext cx="2451100" cy="1288748"/>
            <a:chOff x="0" y="2781802"/>
            <a:chExt cx="2451100" cy="1288748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B5A8BEB-B893-4846-98F3-0D2FA3DAF44A}"/>
                </a:ext>
              </a:extLst>
            </p:cNvPr>
            <p:cNvSpPr/>
            <p:nvPr userDrawn="1"/>
          </p:nvSpPr>
          <p:spPr>
            <a:xfrm>
              <a:off x="0" y="2781802"/>
              <a:ext cx="2451100" cy="128874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7BE8F70-36B7-458B-B578-D69CA9DC33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880097"/>
              <a:ext cx="762261" cy="438912"/>
            </a:xfrm>
            <a:prstGeom prst="rect">
              <a:avLst/>
            </a:prstGeom>
          </p:spPr>
        </p:pic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408083A-7AF2-485E-81A3-882A7E58FB9E}"/>
                </a:ext>
              </a:extLst>
            </p:cNvPr>
            <p:cNvSpPr/>
            <p:nvPr userDrawn="1"/>
          </p:nvSpPr>
          <p:spPr>
            <a:xfrm rot="16200000" flipH="1">
              <a:off x="310000" y="2739428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F6F5B00-CCFD-4753-AE13-694C077322FB}"/>
                </a:ext>
              </a:extLst>
            </p:cNvPr>
            <p:cNvSpPr/>
            <p:nvPr userDrawn="1"/>
          </p:nvSpPr>
          <p:spPr>
            <a:xfrm rot="16200000" flipH="1">
              <a:off x="82144" y="297014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3C3E752-A506-4A5E-A907-CAEBDA95F961}"/>
                </a:ext>
              </a:extLst>
            </p:cNvPr>
            <p:cNvCxnSpPr/>
            <p:nvPr userDrawn="1"/>
          </p:nvCxnSpPr>
          <p:spPr>
            <a:xfrm>
              <a:off x="176782" y="3016529"/>
              <a:ext cx="0" cy="10515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69742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9F6B745-8BA9-46B4-9B25-CD8E9383EC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B86D6A8-93D9-4C96-8C7F-D7EAEC83A61E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E57DD81-849B-4BA9-9E6D-E8A065B986CB}"/>
              </a:ext>
            </a:extLst>
          </p:cNvPr>
          <p:cNvSpPr/>
          <p:nvPr userDrawn="1"/>
        </p:nvSpPr>
        <p:spPr>
          <a:xfrm>
            <a:off x="1817683" y="1718935"/>
            <a:ext cx="5236260" cy="2581931"/>
          </a:xfrm>
          <a:prstGeom prst="roundRect">
            <a:avLst/>
          </a:prstGeom>
          <a:gradFill>
            <a:gsLst>
              <a:gs pos="0">
                <a:srgbClr val="F5F6F9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1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3 lines of tex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314FC01-330E-4910-9C2B-2E41A9074A44}"/>
              </a:ext>
            </a:extLst>
          </p:cNvPr>
          <p:cNvGrpSpPr/>
          <p:nvPr userDrawn="1"/>
        </p:nvGrpSpPr>
        <p:grpSpPr>
          <a:xfrm>
            <a:off x="0" y="2426267"/>
            <a:ext cx="2451100" cy="2005466"/>
            <a:chOff x="0" y="2361678"/>
            <a:chExt cx="2451100" cy="200546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2EED636-AB3A-469B-A4E2-02308B8ADAA6}"/>
                </a:ext>
              </a:extLst>
            </p:cNvPr>
            <p:cNvSpPr/>
            <p:nvPr userDrawn="1"/>
          </p:nvSpPr>
          <p:spPr>
            <a:xfrm>
              <a:off x="0" y="2361678"/>
              <a:ext cx="2451100" cy="20054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5F8FE89-DBDD-4562-8330-516508678216}"/>
                </a:ext>
              </a:extLst>
            </p:cNvPr>
            <p:cNvSpPr/>
            <p:nvPr userDrawn="1"/>
          </p:nvSpPr>
          <p:spPr>
            <a:xfrm rot="16200000" flipH="1">
              <a:off x="310000" y="2313229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5C723D6E-6981-49D3-9A49-8FECE050A7F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544430"/>
              <a:ext cx="762261" cy="438912"/>
            </a:xfrm>
            <a:prstGeom prst="rect">
              <a:avLst/>
            </a:prstGeom>
          </p:spPr>
        </p:pic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6EDB808-7AAB-4360-8904-E5555B7B296E}"/>
                </a:ext>
              </a:extLst>
            </p:cNvPr>
            <p:cNvSpPr/>
            <p:nvPr userDrawn="1"/>
          </p:nvSpPr>
          <p:spPr>
            <a:xfrm rot="16200000" flipH="1">
              <a:off x="82144" y="253298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2F4CF45-75A1-48BA-9BFE-66AE4C9D0D8E}"/>
                </a:ext>
              </a:extLst>
            </p:cNvPr>
            <p:cNvCxnSpPr/>
            <p:nvPr userDrawn="1"/>
          </p:nvCxnSpPr>
          <p:spPr>
            <a:xfrm>
              <a:off x="176782" y="2579369"/>
              <a:ext cx="0" cy="178308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08934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6"/>
            <a:ext cx="10789920" cy="448131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90760" y="1711084"/>
            <a:ext cx="5430358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80336" y="1711084"/>
            <a:ext cx="5359241" cy="429768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3pPr>
            <a:lvl4pPr>
              <a:defRPr kumimoji="0" lang="en-US" b="0" i="0" u="none" strike="noStrike" cap="none" spc="0" normalizeH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4pPr>
            <a:lvl5pPr>
              <a:defRPr kumimoji="0" lang="en-US" b="0" i="0" u="none" strike="noStrike" cap="none" spc="0" normalizeH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90759" y="1713756"/>
            <a:ext cx="3383280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5" hasCustomPrompt="1"/>
          </p:nvPr>
        </p:nvSpPr>
        <p:spPr>
          <a:xfrm>
            <a:off x="440463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6" hasCustomPrompt="1"/>
          </p:nvPr>
        </p:nvSpPr>
        <p:spPr>
          <a:xfrm>
            <a:off x="831850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8233AF-2ADF-4388-AEFC-06C737873A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/Two-thi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AD85CB9A-4B6E-46D5-93C1-6B94E6EC799C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A3E36D0-78B8-4B2E-80F7-98BD46D48237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17" name="Arrow: Pentagon 16">
              <a:extLst>
                <a:ext uri="{FF2B5EF4-FFF2-40B4-BE49-F238E27FC236}">
                  <a16:creationId xmlns:a16="http://schemas.microsoft.com/office/drawing/2014/main" id="{8CCC2144-0958-47CB-9C83-0A02FD60F9F7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B12FF236-F99E-4479-85B4-369212AD24CC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D0335EE-082B-49A5-8886-675F2FFC0959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CA1C461B-0D2D-4EBC-A03B-8B16A24B85DD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23666D4C-43E1-4899-A0D1-5640EFF2D767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25D781CC-2319-4EA1-B52D-2909EADC4D4E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91DFB4FC-DBF3-4C25-B966-AEA10F97ECFF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AC239A6-22F7-4B2D-8EF3-10BAABBED6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4561364" y="1622243"/>
            <a:ext cx="7095744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5BD1AED-6D0A-4F50-922C-B2B90E0F1E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1144" y="1866900"/>
            <a:ext cx="3029331" cy="4056888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4C10FBDB-41E4-496C-8570-6220B8FEEEEC}"/>
              </a:ext>
            </a:extLst>
          </p:cNvPr>
          <p:cNvSpPr/>
          <p:nvPr userDrawn="1"/>
        </p:nvSpPr>
        <p:spPr>
          <a:xfrm flipH="1" flipV="1">
            <a:off x="4290848" y="1775505"/>
            <a:ext cx="192186" cy="198707"/>
          </a:xfrm>
          <a:custGeom>
            <a:avLst/>
            <a:gdLst>
              <a:gd name="connsiteX0" fmla="*/ 184242 w 192186"/>
              <a:gd name="connsiteY0" fmla="*/ 198707 h 198707"/>
              <a:gd name="connsiteX1" fmla="*/ 0 w 192186"/>
              <a:gd name="connsiteY1" fmla="*/ 198707 h 198707"/>
              <a:gd name="connsiteX2" fmla="*/ 192186 w 192186"/>
              <a:gd name="connsiteY2" fmla="*/ 0 h 198707"/>
              <a:gd name="connsiteX3" fmla="*/ 192186 w 192186"/>
              <a:gd name="connsiteY3" fmla="*/ 190494 h 198707"/>
              <a:gd name="connsiteX4" fmla="*/ 184242 w 192186"/>
              <a:gd name="connsiteY4" fmla="*/ 198707 h 198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186" h="198707">
                <a:moveTo>
                  <a:pt x="184242" y="198707"/>
                </a:moveTo>
                <a:lnTo>
                  <a:pt x="0" y="198707"/>
                </a:lnTo>
                <a:lnTo>
                  <a:pt x="192186" y="0"/>
                </a:lnTo>
                <a:lnTo>
                  <a:pt x="192186" y="190494"/>
                </a:lnTo>
                <a:lnTo>
                  <a:pt x="184242" y="198707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446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6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36" Type="http://schemas.openxmlformats.org/officeDocument/2006/relationships/image" Target="../media/image8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5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4.png"/><Relationship Id="rId35" Type="http://schemas.openxmlformats.org/officeDocument/2006/relationships/image" Target="../media/image7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90734D-BEF5-41A5-9F49-51E157572097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53261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83" imgH="384" progId="TCLayout.ActiveDocument.1">
                  <p:embed/>
                </p:oleObj>
              </mc:Choice>
              <mc:Fallback>
                <p:oleObj name="think-cell Slide" r:id="rId28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90734D-BEF5-41A5-9F49-51E1575720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F71598-268F-4340-989F-8086D0EE7691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6648" y="1630680"/>
            <a:ext cx="10789919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6FE1755-5705-4A27-8F5C-B2D6D4D1E477}"/>
              </a:ext>
            </a:extLst>
          </p:cNvPr>
          <p:cNvSpPr/>
          <p:nvPr userDrawn="1"/>
        </p:nvSpPr>
        <p:spPr>
          <a:xfrm>
            <a:off x="496649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pic>
        <p:nvPicPr>
          <p:cNvPr id="73" name="Graphic 72">
            <a:extLst>
              <a:ext uri="{FF2B5EF4-FFF2-40B4-BE49-F238E27FC236}">
                <a16:creationId xmlns:a16="http://schemas.microsoft.com/office/drawing/2014/main" id="{03CC0558-A5CC-41DA-B025-39B57BA2FE65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45443" y="4871963"/>
            <a:ext cx="58992" cy="1828800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CD2F2950-7537-4E6F-B33D-35A19B1AB26A}"/>
              </a:ext>
            </a:extLst>
          </p:cNvPr>
          <p:cNvGrpSpPr/>
          <p:nvPr userDrawn="1"/>
        </p:nvGrpSpPr>
        <p:grpSpPr>
          <a:xfrm>
            <a:off x="0" y="6620256"/>
            <a:ext cx="12188952" cy="237744"/>
            <a:chOff x="0" y="6620256"/>
            <a:chExt cx="12188952" cy="237744"/>
          </a:xfrm>
        </p:grpSpPr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CFD1D920-036D-4BCE-A963-9A109BD6E299}"/>
                </a:ext>
              </a:extLst>
            </p:cNvPr>
            <p:cNvSpPr/>
            <p:nvPr userDrawn="1"/>
          </p:nvSpPr>
          <p:spPr>
            <a:xfrm>
              <a:off x="0" y="6624535"/>
              <a:ext cx="12188952" cy="233465"/>
            </a:xfrm>
            <a:custGeom>
              <a:avLst/>
              <a:gdLst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695556 w 11969877"/>
                <a:gd name="connsiteY10" fmla="*/ 109891 h 233465"/>
                <a:gd name="connsiteX11" fmla="*/ 8949770 w 11969877"/>
                <a:gd name="connsiteY11" fmla="*/ 0 h 233465"/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708028 w 11969877"/>
                <a:gd name="connsiteY10" fmla="*/ 141641 h 233465"/>
                <a:gd name="connsiteX11" fmla="*/ 8949770 w 11969877"/>
                <a:gd name="connsiteY11" fmla="*/ 0 h 23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69877" h="233465">
                  <a:moveTo>
                    <a:pt x="8949770" y="0"/>
                  </a:moveTo>
                  <a:lnTo>
                    <a:pt x="11969877" y="0"/>
                  </a:lnTo>
                  <a:lnTo>
                    <a:pt x="11969877" y="233465"/>
                  </a:lnTo>
                  <a:lnTo>
                    <a:pt x="9027859" y="233465"/>
                  </a:lnTo>
                  <a:lnTo>
                    <a:pt x="1048596" y="233465"/>
                  </a:lnTo>
                  <a:lnTo>
                    <a:pt x="33436" y="233465"/>
                  </a:lnTo>
                  <a:lnTo>
                    <a:pt x="0" y="233465"/>
                  </a:lnTo>
                  <a:lnTo>
                    <a:pt x="0" y="169375"/>
                  </a:lnTo>
                  <a:lnTo>
                    <a:pt x="0" y="126232"/>
                  </a:lnTo>
                  <a:lnTo>
                    <a:pt x="0" y="109891"/>
                  </a:lnTo>
                  <a:lnTo>
                    <a:pt x="8708028" y="141641"/>
                  </a:lnTo>
                  <a:lnTo>
                    <a:pt x="894977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 sz="18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4">
              <a:extLst>
                <a:ext uri="{FF2B5EF4-FFF2-40B4-BE49-F238E27FC236}">
                  <a16:creationId xmlns:a16="http://schemas.microsoft.com/office/drawing/2014/main" id="{13DF9A9F-26BE-4073-8E1D-B518CB89266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585655" y="6620256"/>
              <a:ext cx="545655" cy="237744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  <a:gd name="connsiteX0" fmla="*/ 1062735 w 1166989"/>
                <a:gd name="connsiteY0" fmla="*/ 0 h 857667"/>
                <a:gd name="connsiteX1" fmla="*/ 1166989 w 1166989"/>
                <a:gd name="connsiteY1" fmla="*/ 855772 h 857667"/>
                <a:gd name="connsiteX2" fmla="*/ 0 w 1166989"/>
                <a:gd name="connsiteY2" fmla="*/ 857667 h 857667"/>
                <a:gd name="connsiteX0" fmla="*/ 1037104 w 1166989"/>
                <a:gd name="connsiteY0" fmla="*/ 0 h 928818"/>
                <a:gd name="connsiteX1" fmla="*/ 1166989 w 1166989"/>
                <a:gd name="connsiteY1" fmla="*/ 926923 h 928818"/>
                <a:gd name="connsiteX2" fmla="*/ 0 w 1166989"/>
                <a:gd name="connsiteY2" fmla="*/ 928818 h 928818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28818 h 962499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55031 h 962499"/>
                <a:gd name="connsiteX0" fmla="*/ 1046547 w 1046547"/>
                <a:gd name="connsiteY0" fmla="*/ 0 h 949391"/>
                <a:gd name="connsiteX1" fmla="*/ 791077 w 1046547"/>
                <a:gd name="connsiteY1" fmla="*/ 949391 h 949391"/>
                <a:gd name="connsiteX2" fmla="*/ 0 w 1046547"/>
                <a:gd name="connsiteY2" fmla="*/ 941923 h 94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6547" h="949391">
                  <a:moveTo>
                    <a:pt x="1046547" y="0"/>
                  </a:moveTo>
                  <a:lnTo>
                    <a:pt x="791077" y="949391"/>
                  </a:lnTo>
                  <a:lnTo>
                    <a:pt x="0" y="941923"/>
                  </a:lnTo>
                </a:path>
              </a:pathLst>
            </a:custGeom>
            <a:gradFill>
              <a:gsLst>
                <a:gs pos="35000">
                  <a:srgbClr val="6CC04A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E24A4945-5D5C-4CE3-AF46-3DACE44E951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19" name="Freeform: Shape 118">
            <a:extLst>
              <a:ext uri="{FF2B5EF4-FFF2-40B4-BE49-F238E27FC236}">
                <a16:creationId xmlns:a16="http://schemas.microsoft.com/office/drawing/2014/main" id="{A4C4021E-2657-42B7-B4E3-54880BAF86D1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20" name="Freeform: Shape 119">
            <a:extLst>
              <a:ext uri="{FF2B5EF4-FFF2-40B4-BE49-F238E27FC236}">
                <a16:creationId xmlns:a16="http://schemas.microsoft.com/office/drawing/2014/main" id="{B002BFEA-4620-4793-90D3-45DBE94C2925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23" name="Graphic 42">
            <a:extLst>
              <a:ext uri="{FF2B5EF4-FFF2-40B4-BE49-F238E27FC236}">
                <a16:creationId xmlns:a16="http://schemas.microsoft.com/office/drawing/2014/main" id="{C9CE943F-D82F-4669-9376-BFAC04830ABD}"/>
              </a:ext>
            </a:extLst>
          </p:cNvPr>
          <p:cNvGrpSpPr/>
          <p:nvPr userDrawn="1"/>
        </p:nvGrpSpPr>
        <p:grpSpPr>
          <a:xfrm flipV="1">
            <a:off x="11042268" y="241617"/>
            <a:ext cx="907034" cy="112903"/>
            <a:chOff x="10978768" y="6357873"/>
            <a:chExt cx="907034" cy="112903"/>
          </a:xfrm>
          <a:solidFill>
            <a:srgbClr val="B8B7B9"/>
          </a:solidFill>
        </p:grpSpPr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453F8F07-CF6E-45C8-AC20-6B8B79C580CF}"/>
                </a:ext>
              </a:extLst>
            </p:cNvPr>
            <p:cNvSpPr/>
            <p:nvPr/>
          </p:nvSpPr>
          <p:spPr>
            <a:xfrm>
              <a:off x="10978768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CED4C5C8-A7FC-4FB8-8D39-41B48E71D318}"/>
                </a:ext>
              </a:extLst>
            </p:cNvPr>
            <p:cNvSpPr/>
            <p:nvPr/>
          </p:nvSpPr>
          <p:spPr>
            <a:xfrm>
              <a:off x="11041824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3875CC80-2EE3-44A2-AB9F-821C5BE5D095}"/>
                </a:ext>
              </a:extLst>
            </p:cNvPr>
            <p:cNvSpPr/>
            <p:nvPr/>
          </p:nvSpPr>
          <p:spPr>
            <a:xfrm>
              <a:off x="1110488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CA54CFE8-6216-4380-A4C8-B1D07F3A1D94}"/>
                </a:ext>
              </a:extLst>
            </p:cNvPr>
            <p:cNvSpPr/>
            <p:nvPr/>
          </p:nvSpPr>
          <p:spPr>
            <a:xfrm>
              <a:off x="11167998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2DEB6F89-07F4-4D3B-AB30-B973E58262D7}"/>
                </a:ext>
              </a:extLst>
            </p:cNvPr>
            <p:cNvSpPr/>
            <p:nvPr/>
          </p:nvSpPr>
          <p:spPr>
            <a:xfrm>
              <a:off x="11233594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87673452-EAA0-4D54-9838-821974179A52}"/>
                </a:ext>
              </a:extLst>
            </p:cNvPr>
            <p:cNvSpPr/>
            <p:nvPr/>
          </p:nvSpPr>
          <p:spPr>
            <a:xfrm>
              <a:off x="11488419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90AC6EB6-1C9C-4556-8400-349BEA629D3A}"/>
                </a:ext>
              </a:extLst>
            </p:cNvPr>
            <p:cNvSpPr/>
            <p:nvPr/>
          </p:nvSpPr>
          <p:spPr>
            <a:xfrm>
              <a:off x="11743245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799D2756-4A52-4726-8D71-E99F167C5929}"/>
                </a:ext>
              </a:extLst>
            </p:cNvPr>
            <p:cNvSpPr/>
            <p:nvPr/>
          </p:nvSpPr>
          <p:spPr>
            <a:xfrm>
              <a:off x="1129665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AA3E8461-8537-49BD-B1CD-2CA140B8BF1F}"/>
                </a:ext>
              </a:extLst>
            </p:cNvPr>
            <p:cNvSpPr/>
            <p:nvPr/>
          </p:nvSpPr>
          <p:spPr>
            <a:xfrm>
              <a:off x="1155147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8B9D7C9B-8424-4A76-9E58-BA4DF16F73C4}"/>
                </a:ext>
              </a:extLst>
            </p:cNvPr>
            <p:cNvSpPr/>
            <p:nvPr/>
          </p:nvSpPr>
          <p:spPr>
            <a:xfrm>
              <a:off x="11806301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A38571FC-9C89-46B5-8ACE-9F8A6C07C555}"/>
                </a:ext>
              </a:extLst>
            </p:cNvPr>
            <p:cNvSpPr/>
            <p:nvPr/>
          </p:nvSpPr>
          <p:spPr>
            <a:xfrm>
              <a:off x="1135970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AE89493A-0CA0-47AE-84F9-23996CC80A99}"/>
                </a:ext>
              </a:extLst>
            </p:cNvPr>
            <p:cNvSpPr/>
            <p:nvPr/>
          </p:nvSpPr>
          <p:spPr>
            <a:xfrm>
              <a:off x="11614594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C865DC70-EE04-478F-B674-FEF9458E11FF}"/>
                </a:ext>
              </a:extLst>
            </p:cNvPr>
            <p:cNvSpPr/>
            <p:nvPr/>
          </p:nvSpPr>
          <p:spPr>
            <a:xfrm>
              <a:off x="11869419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D997C624-2682-4B08-9D15-7BFC41ADE59B}"/>
                </a:ext>
              </a:extLst>
            </p:cNvPr>
            <p:cNvSpPr/>
            <p:nvPr/>
          </p:nvSpPr>
          <p:spPr>
            <a:xfrm>
              <a:off x="11422824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A5DD6C8D-6AAB-498F-85B3-83F734278836}"/>
                </a:ext>
              </a:extLst>
            </p:cNvPr>
            <p:cNvSpPr/>
            <p:nvPr/>
          </p:nvSpPr>
          <p:spPr>
            <a:xfrm>
              <a:off x="11677650" y="6357873"/>
              <a:ext cx="16446" cy="112903"/>
            </a:xfrm>
            <a:custGeom>
              <a:avLst/>
              <a:gdLst>
                <a:gd name="connsiteX0" fmla="*/ 0 w 16446"/>
                <a:gd name="connsiteY0" fmla="*/ 112903 h 112903"/>
                <a:gd name="connsiteX1" fmla="*/ 0 w 16446"/>
                <a:gd name="connsiteY1" fmla="*/ 0 h 112903"/>
                <a:gd name="connsiteX2" fmla="*/ 16446 w 16446"/>
                <a:gd name="connsiteY2" fmla="*/ 0 h 112903"/>
                <a:gd name="connsiteX3" fmla="*/ 16446 w 16446"/>
                <a:gd name="connsiteY3" fmla="*/ 112903 h 112903"/>
                <a:gd name="connsiteX4" fmla="*/ 0 w 16446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112903">
                  <a:moveTo>
                    <a:pt x="0" y="112903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4" name="Freeform: Shape 123">
            <a:extLst>
              <a:ext uri="{FF2B5EF4-FFF2-40B4-BE49-F238E27FC236}">
                <a16:creationId xmlns:a16="http://schemas.microsoft.com/office/drawing/2014/main" id="{B86A8B70-71D7-4C00-B48D-B0410F86AB4B}"/>
              </a:ext>
            </a:extLst>
          </p:cNvPr>
          <p:cNvSpPr/>
          <p:nvPr userDrawn="1"/>
        </p:nvSpPr>
        <p:spPr>
          <a:xfrm rot="5400000" flipV="1">
            <a:off x="11916016" y="398907"/>
            <a:ext cx="43688" cy="43687"/>
          </a:xfrm>
          <a:custGeom>
            <a:avLst/>
            <a:gdLst>
              <a:gd name="connsiteX0" fmla="*/ 0 w 43688"/>
              <a:gd name="connsiteY0" fmla="*/ 0 h 43687"/>
              <a:gd name="connsiteX1" fmla="*/ 43688 w 43688"/>
              <a:gd name="connsiteY1" fmla="*/ 0 h 43687"/>
              <a:gd name="connsiteX2" fmla="*/ 43688 w 43688"/>
              <a:gd name="connsiteY2" fmla="*/ 43688 h 43687"/>
              <a:gd name="connsiteX3" fmla="*/ 0 w 43688"/>
              <a:gd name="connsiteY3" fmla="*/ 43688 h 43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688" h="43687">
                <a:moveTo>
                  <a:pt x="0" y="0"/>
                </a:moveTo>
                <a:lnTo>
                  <a:pt x="43688" y="0"/>
                </a:lnTo>
                <a:lnTo>
                  <a:pt x="43688" y="43688"/>
                </a:lnTo>
                <a:lnTo>
                  <a:pt x="0" y="43688"/>
                </a:lnTo>
                <a:close/>
              </a:path>
            </a:pathLst>
          </a:custGeom>
          <a:noFill/>
          <a:ln w="3175" cap="flat">
            <a:solidFill>
              <a:srgbClr val="FFFFFF">
                <a:lumMod val="50000"/>
              </a:srgb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</a:endParaRPr>
          </a:p>
        </p:txBody>
      </p:sp>
      <p:grpSp>
        <p:nvGrpSpPr>
          <p:cNvPr id="125" name="Graphic 42">
            <a:extLst>
              <a:ext uri="{FF2B5EF4-FFF2-40B4-BE49-F238E27FC236}">
                <a16:creationId xmlns:a16="http://schemas.microsoft.com/office/drawing/2014/main" id="{79F87CE9-05CD-4B99-9848-6C33FEA9AF91}"/>
              </a:ext>
            </a:extLst>
          </p:cNvPr>
          <p:cNvGrpSpPr/>
          <p:nvPr userDrawn="1"/>
        </p:nvGrpSpPr>
        <p:grpSpPr>
          <a:xfrm flipV="1">
            <a:off x="11901678" y="510222"/>
            <a:ext cx="73152" cy="410654"/>
            <a:chOff x="11838178" y="5791517"/>
            <a:chExt cx="73152" cy="410654"/>
          </a:xfrm>
          <a:solidFill>
            <a:srgbClr val="FFFFFF">
              <a:lumMod val="50000"/>
            </a:srgbClr>
          </a:solidFill>
        </p:grpSpPr>
        <p:grpSp>
          <p:nvGrpSpPr>
            <p:cNvPr id="126" name="Graphic 42">
              <a:extLst>
                <a:ext uri="{FF2B5EF4-FFF2-40B4-BE49-F238E27FC236}">
                  <a16:creationId xmlns:a16="http://schemas.microsoft.com/office/drawing/2014/main" id="{FA297456-6C40-4A91-986C-614EE79FB8E7}"/>
                </a:ext>
              </a:extLst>
            </p:cNvPr>
            <p:cNvGrpSpPr/>
            <p:nvPr/>
          </p:nvGrpSpPr>
          <p:grpSpPr>
            <a:xfrm>
              <a:off x="11854497" y="5791517"/>
              <a:ext cx="42418" cy="282892"/>
              <a:chOff x="11854497" y="5791517"/>
              <a:chExt cx="42418" cy="282892"/>
            </a:xfrm>
            <a:grpFill/>
          </p:grpSpPr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55ACF6A1-756F-4E15-AC83-CBAC518A9533}"/>
                  </a:ext>
                </a:extLst>
              </p:cNvPr>
              <p:cNvSpPr/>
              <p:nvPr/>
            </p:nvSpPr>
            <p:spPr>
              <a:xfrm>
                <a:off x="11855259" y="5891022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EA354376-FA52-4C1E-B7E9-F6417BA2E92E}"/>
                  </a:ext>
                </a:extLst>
              </p:cNvPr>
              <p:cNvSpPr/>
              <p:nvPr/>
            </p:nvSpPr>
            <p:spPr>
              <a:xfrm>
                <a:off x="11855259" y="595553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7FADCCA1-0EFD-4333-AC19-FADC0B2CC096}"/>
                  </a:ext>
                </a:extLst>
              </p:cNvPr>
              <p:cNvSpPr/>
              <p:nvPr/>
            </p:nvSpPr>
            <p:spPr>
              <a:xfrm>
                <a:off x="11855259" y="6011545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345B0990-518A-4D66-9558-A4A21E17FDDF}"/>
                  </a:ext>
                </a:extLst>
              </p:cNvPr>
              <p:cNvSpPr/>
              <p:nvPr/>
            </p:nvSpPr>
            <p:spPr>
              <a:xfrm>
                <a:off x="11855259" y="607002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82DC273E-06B6-4901-823A-42356C2C95FF}"/>
                  </a:ext>
                </a:extLst>
              </p:cNvPr>
              <p:cNvSpPr/>
              <p:nvPr/>
            </p:nvSpPr>
            <p:spPr>
              <a:xfrm>
                <a:off x="11854497" y="5791517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rgbClr val="C8C9C7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432D69D3-B1D9-4752-B422-0712A33B4E1E}"/>
                </a:ext>
              </a:extLst>
            </p:cNvPr>
            <p:cNvSpPr/>
            <p:nvPr/>
          </p:nvSpPr>
          <p:spPr>
            <a:xfrm>
              <a:off x="11838178" y="6162294"/>
              <a:ext cx="73152" cy="39877"/>
            </a:xfrm>
            <a:custGeom>
              <a:avLst/>
              <a:gdLst>
                <a:gd name="connsiteX0" fmla="*/ 38671 w 73152"/>
                <a:gd name="connsiteY0" fmla="*/ 0 h 39877"/>
                <a:gd name="connsiteX1" fmla="*/ 73152 w 73152"/>
                <a:gd name="connsiteY1" fmla="*/ 37465 h 39877"/>
                <a:gd name="connsiteX2" fmla="*/ 69914 w 73152"/>
                <a:gd name="connsiteY2" fmla="*/ 39878 h 39877"/>
                <a:gd name="connsiteX3" fmla="*/ 36576 w 73152"/>
                <a:gd name="connsiteY3" fmla="*/ 3747 h 39877"/>
                <a:gd name="connsiteX4" fmla="*/ 3239 w 73152"/>
                <a:gd name="connsiteY4" fmla="*/ 39878 h 39877"/>
                <a:gd name="connsiteX5" fmla="*/ 0 w 73152"/>
                <a:gd name="connsiteY5" fmla="*/ 37465 h 39877"/>
                <a:gd name="connsiteX6" fmla="*/ 34480 w 73152"/>
                <a:gd name="connsiteY6" fmla="*/ 0 h 39877"/>
                <a:gd name="connsiteX7" fmla="*/ 38671 w 73152"/>
                <a:gd name="connsiteY7" fmla="*/ 0 h 39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" h="39877">
                  <a:moveTo>
                    <a:pt x="38671" y="0"/>
                  </a:moveTo>
                  <a:lnTo>
                    <a:pt x="73152" y="37465"/>
                  </a:lnTo>
                  <a:lnTo>
                    <a:pt x="69914" y="39878"/>
                  </a:lnTo>
                  <a:lnTo>
                    <a:pt x="36576" y="3747"/>
                  </a:lnTo>
                  <a:lnTo>
                    <a:pt x="3239" y="39878"/>
                  </a:lnTo>
                  <a:lnTo>
                    <a:pt x="0" y="37465"/>
                  </a:lnTo>
                  <a:lnTo>
                    <a:pt x="34480" y="0"/>
                  </a:lnTo>
                  <a:lnTo>
                    <a:pt x="38671" y="0"/>
                  </a:lnTo>
                  <a:close/>
                </a:path>
              </a:pathLst>
            </a:custGeom>
            <a:grpFill/>
            <a:ln w="6350" cap="flat">
              <a:solidFill>
                <a:srgbClr val="CFD0CE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2" name="Rectangle 6">
            <a:extLst>
              <a:ext uri="{FF2B5EF4-FFF2-40B4-BE49-F238E27FC236}">
                <a16:creationId xmlns:a16="http://schemas.microsoft.com/office/drawing/2014/main" id="{909BD88B-614B-40D2-9807-224D2FD3634C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57" r:id="rId1"/>
    <p:sldLayoutId id="2147483998" r:id="rId2"/>
    <p:sldLayoutId id="2147483999" r:id="rId3"/>
    <p:sldLayoutId id="2147484000" r:id="rId4"/>
    <p:sldLayoutId id="2147483650" r:id="rId5"/>
    <p:sldLayoutId id="2147483652" r:id="rId6"/>
    <p:sldLayoutId id="2147483653" r:id="rId7"/>
    <p:sldLayoutId id="2147483654" r:id="rId8"/>
    <p:sldLayoutId id="2147483938" r:id="rId9"/>
    <p:sldLayoutId id="2147483972" r:id="rId10"/>
    <p:sldLayoutId id="2147483963" r:id="rId11"/>
    <p:sldLayoutId id="2147483953" r:id="rId12"/>
    <p:sldLayoutId id="2147484001" r:id="rId13"/>
    <p:sldLayoutId id="2147484002" r:id="rId14"/>
    <p:sldLayoutId id="2147483971" r:id="rId15"/>
    <p:sldLayoutId id="2147483956" r:id="rId16"/>
    <p:sldLayoutId id="2147483992" r:id="rId17"/>
    <p:sldLayoutId id="2147483957" r:id="rId18"/>
    <p:sldLayoutId id="2147484054" r:id="rId19"/>
    <p:sldLayoutId id="2147484030" r:id="rId20"/>
    <p:sldLayoutId id="2147484028" r:id="rId21"/>
    <p:sldLayoutId id="2147483701" r:id="rId22"/>
    <p:sldLayoutId id="2147484059" r:id="rId23"/>
    <p:sldLayoutId id="2147484062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1086775" rtl="0" eaLnBrk="1" latinLnBrk="0" hangingPunct="1">
        <a:lnSpc>
          <a:spcPct val="80000"/>
        </a:lnSpc>
        <a:spcBef>
          <a:spcPct val="0"/>
        </a:spcBef>
        <a:buNone/>
        <a:defRPr sz="3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086775" rtl="0" eaLnBrk="1" latinLnBrk="0" hangingPunct="1">
        <a:lnSpc>
          <a:spcPct val="90000"/>
        </a:lnSpc>
        <a:spcBef>
          <a:spcPts val="1800"/>
        </a:spcBef>
        <a:buClr>
          <a:schemeClr val="bg2"/>
        </a:buClr>
        <a:buFontTx/>
        <a:buBlip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85216" indent="-274320" algn="l" defTabSz="1086775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tx1"/>
        </a:buClr>
        <a:buSzPct val="100000"/>
        <a:buFontTx/>
        <a:buBlip>
          <a:blip r:embed="rId34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74320" algn="l" defTabSz="1290546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SzPct val="100000"/>
        <a:buFontTx/>
        <a:buBlip>
          <a:blip r:embed="rId36"/>
        </a:buBlip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389888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88632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2020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75408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18796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38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6775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016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3551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693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0326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371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47102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/>
              <a:t>CREO AR DESIGN SHARE </a:t>
            </a:r>
            <a:r>
              <a:rPr lang="en-US" sz="1800" cap="none"/>
              <a:t>(NOW INCLUDED WITH CREO)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4294967295"/>
          </p:nvPr>
        </p:nvSpPr>
        <p:spPr>
          <a:xfrm>
            <a:off x="464091" y="1200151"/>
            <a:ext cx="8144343" cy="36629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2000" dirty="0"/>
              <a:t>Easily create and securely share AR experiences managing models and viewer access 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1FB2C74-82CF-4AF5-B415-4C54765ECD17}"/>
              </a:ext>
            </a:extLst>
          </p:cNvPr>
          <p:cNvGrpSpPr/>
          <p:nvPr/>
        </p:nvGrpSpPr>
        <p:grpSpPr>
          <a:xfrm>
            <a:off x="8238733" y="2797707"/>
            <a:ext cx="3790940" cy="3664942"/>
            <a:chOff x="7939667" y="2354958"/>
            <a:chExt cx="4148254" cy="4010380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149EA551-C11E-4B15-A251-FAE91CC0A7E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1462" r="1637"/>
            <a:stretch/>
          </p:blipFill>
          <p:spPr>
            <a:xfrm>
              <a:off x="7939667" y="3267306"/>
              <a:ext cx="4148254" cy="3098032"/>
            </a:xfrm>
            <a:prstGeom prst="rect">
              <a:avLst/>
            </a:prstGeom>
          </p:spPr>
        </p:pic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35DAE634-8E18-463B-A996-79369E5B0E0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939667" y="2354958"/>
              <a:ext cx="4148254" cy="829650"/>
            </a:xfrm>
            <a:prstGeom prst="rect">
              <a:avLst/>
            </a:prstGeom>
            <a:noFill/>
            <a:ln w="19050">
              <a:solidFill>
                <a:schemeClr val="bg1">
                  <a:lumMod val="65000"/>
                </a:schemeClr>
              </a:solidFill>
            </a:ln>
          </p:spPr>
        </p:pic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B892DFB3-1D6D-43DD-9560-0BD62B747757}"/>
              </a:ext>
            </a:extLst>
          </p:cNvPr>
          <p:cNvSpPr/>
          <p:nvPr/>
        </p:nvSpPr>
        <p:spPr>
          <a:xfrm>
            <a:off x="499302" y="1884587"/>
            <a:ext cx="1510147" cy="77871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Who Needs It?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4050F24-C47D-4219-B608-B211AA36BE1E}"/>
              </a:ext>
            </a:extLst>
          </p:cNvPr>
          <p:cNvSpPr/>
          <p:nvPr/>
        </p:nvSpPr>
        <p:spPr>
          <a:xfrm>
            <a:off x="2150156" y="1884587"/>
            <a:ext cx="6924409" cy="7787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</a:rPr>
              <a:t>Every customer that needs to securely communicate, collaborate and share CAD data with engineers, suppliers, partners and non-CAD users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Fully control authoring and accessibility of your company’s AR experienc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F4DA4EA-743C-4A05-BA53-30D6188714BC}"/>
              </a:ext>
            </a:extLst>
          </p:cNvPr>
          <p:cNvSpPr/>
          <p:nvPr/>
        </p:nvSpPr>
        <p:spPr>
          <a:xfrm>
            <a:off x="499302" y="2742680"/>
            <a:ext cx="1510147" cy="192024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Business Valu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9604CF5-0D37-4DF2-8CD8-D3CF7BBDF139}"/>
              </a:ext>
            </a:extLst>
          </p:cNvPr>
          <p:cNvSpPr/>
          <p:nvPr/>
        </p:nvSpPr>
        <p:spPr>
          <a:xfrm>
            <a:off x="2150158" y="2775342"/>
            <a:ext cx="5720211" cy="18293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Enhance the customer experience using AR to visualize products in the real world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Enable virtual design collaboration using AR to facilitate effective design reviews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olicit and apply expertise and knowledge using AR to connect disparate teams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Enable non-CAD users to interact, explore and engage using AR 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Protect IP by preventing access to CAD data  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3E2115D-E25D-40DF-9DA4-5B9AED0C72A5}"/>
              </a:ext>
            </a:extLst>
          </p:cNvPr>
          <p:cNvSpPr/>
          <p:nvPr/>
        </p:nvSpPr>
        <p:spPr>
          <a:xfrm>
            <a:off x="499302" y="4719538"/>
            <a:ext cx="1510147" cy="59107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Process Improvement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9B593BD-9D46-40B3-BA07-5EAB0CDCCA1F}"/>
              </a:ext>
            </a:extLst>
          </p:cNvPr>
          <p:cNvSpPr/>
          <p:nvPr/>
        </p:nvSpPr>
        <p:spPr>
          <a:xfrm>
            <a:off x="2150157" y="4741310"/>
            <a:ext cx="5188205" cy="523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Design communication, collaboration and review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AR model and viewer administratio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3BE7A63-599D-49A2-8191-97168AADA5D3}"/>
              </a:ext>
            </a:extLst>
          </p:cNvPr>
          <p:cNvSpPr/>
          <p:nvPr/>
        </p:nvSpPr>
        <p:spPr>
          <a:xfrm>
            <a:off x="499302" y="5389989"/>
            <a:ext cx="1510147" cy="91693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Technology/ Capability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F9F161C-5264-40B7-BFE5-A11D49CB8337}"/>
              </a:ext>
            </a:extLst>
          </p:cNvPr>
          <p:cNvSpPr/>
          <p:nvPr/>
        </p:nvSpPr>
        <p:spPr>
          <a:xfrm>
            <a:off x="2150156" y="5607703"/>
            <a:ext cx="5720209" cy="523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AR Setup, Publishing, Distribution and Viewing via Vuforia View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ecure management of AR models and viewer access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8DAF4E3-DE2C-4B62-A1D7-633A21C15748}"/>
              </a:ext>
            </a:extLst>
          </p:cNvPr>
          <p:cNvCxnSpPr>
            <a:cxnSpLocks/>
          </p:cNvCxnSpPr>
          <p:nvPr/>
        </p:nvCxnSpPr>
        <p:spPr>
          <a:xfrm>
            <a:off x="2106434" y="1884587"/>
            <a:ext cx="0" cy="778718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42DD7DE-1ACF-4B94-BA55-4CBF4A77CDF0}"/>
              </a:ext>
            </a:extLst>
          </p:cNvPr>
          <p:cNvCxnSpPr>
            <a:cxnSpLocks/>
          </p:cNvCxnSpPr>
          <p:nvPr/>
        </p:nvCxnSpPr>
        <p:spPr>
          <a:xfrm>
            <a:off x="2106434" y="2742679"/>
            <a:ext cx="0" cy="192024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550EF849-A3B1-4934-995A-13027BCEE9F7}"/>
              </a:ext>
            </a:extLst>
          </p:cNvPr>
          <p:cNvCxnSpPr>
            <a:cxnSpLocks/>
          </p:cNvCxnSpPr>
          <p:nvPr/>
        </p:nvCxnSpPr>
        <p:spPr>
          <a:xfrm>
            <a:off x="2106434" y="4719536"/>
            <a:ext cx="0" cy="591076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50F9C98E-AD11-4869-BC0F-F80E76A265D3}"/>
              </a:ext>
            </a:extLst>
          </p:cNvPr>
          <p:cNvCxnSpPr>
            <a:cxnSpLocks/>
          </p:cNvCxnSpPr>
          <p:nvPr/>
        </p:nvCxnSpPr>
        <p:spPr>
          <a:xfrm>
            <a:off x="2106434" y="5389989"/>
            <a:ext cx="0" cy="916932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5834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32lStPzbKjeVqUbCWn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fE9v86RQrOvrodLv8C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V2maKZdWQUudon1RGb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u.CyTn6V_fFpJ2tEORcw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PTC PowerPoint Template">
  <a:themeElements>
    <a:clrScheme name="PTC PPT FY22">
      <a:dk1>
        <a:srgbClr val="4D585A"/>
      </a:dk1>
      <a:lt1>
        <a:srgbClr val="FFFFFF"/>
      </a:lt1>
      <a:dk2>
        <a:srgbClr val="C8C9C7"/>
      </a:dk2>
      <a:lt2>
        <a:srgbClr val="6CC04A"/>
      </a:lt2>
      <a:accent1>
        <a:srgbClr val="00890B"/>
      </a:accent1>
      <a:accent2>
        <a:srgbClr val="617480"/>
      </a:accent2>
      <a:accent3>
        <a:srgbClr val="26481F"/>
      </a:accent3>
      <a:accent4>
        <a:srgbClr val="2F97FF"/>
      </a:accent4>
      <a:accent5>
        <a:srgbClr val="EB6D00"/>
      </a:accent5>
      <a:accent6>
        <a:srgbClr val="1D496E"/>
      </a:accent6>
      <a:hlink>
        <a:srgbClr val="2F97FF"/>
      </a:hlink>
      <a:folHlink>
        <a:srgbClr val="2F97FF"/>
      </a:folHlink>
    </a:clrScheme>
    <a:fontScheme name="PTC Newsletter">
      <a:majorFont>
        <a:latin typeface="PTCRaleway"/>
        <a:ea typeface=""/>
        <a:cs typeface=""/>
      </a:majorFont>
      <a:minorFont>
        <a:latin typeface="PTC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D585A"/>
        </a:solidFill>
        <a:ln w="2857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lnSpc>
            <a:spcPct val="90000"/>
          </a:lnSpc>
          <a:spcBef>
            <a:spcPts val="800"/>
          </a:spcBef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none" lIns="0" tIns="0" rIns="0" bIns="0" rtlCol="0">
        <a:spAutoFit/>
      </a:bodyPr>
      <a:lstStyle>
        <a:defPPr marL="274320" indent="-274320" algn="l">
          <a:lnSpc>
            <a:spcPct val="90000"/>
          </a:lnSpc>
          <a:spcBef>
            <a:spcPts val="800"/>
          </a:spcBef>
          <a:buBlip>
            <a:blip xmlns:r="http://schemas.openxmlformats.org/officeDocument/2006/relationships" r:embed="rId1"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</a:buBlip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TC Corporate Template FY22.pptx" id="{61E092C9-F2AD-4020-B6A9-73E161A0A678}" vid="{7658606F-0CA7-4533-80D0-41CF0D1EE64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53CC3168B6C2D4D99959A344254B259" ma:contentTypeVersion="12" ma:contentTypeDescription="Create a new document." ma:contentTypeScope="" ma:versionID="e468f9b7da3db852f22f87de9fae82bf">
  <xsd:schema xmlns:xsd="http://www.w3.org/2001/XMLSchema" xmlns:xs="http://www.w3.org/2001/XMLSchema" xmlns:p="http://schemas.microsoft.com/office/2006/metadata/properties" xmlns:ns2="06caee19-00b5-48df-bf01-7741a1496c06" xmlns:ns3="7dafaee0-0f14-4d71-9768-8f6113da2e1a" targetNamespace="http://schemas.microsoft.com/office/2006/metadata/properties" ma:root="true" ma:fieldsID="2297e68328c0963e3d6f41ac4bb00918" ns2:_="" ns3:_="">
    <xsd:import namespace="06caee19-00b5-48df-bf01-7741a1496c06"/>
    <xsd:import namespace="7dafaee0-0f14-4d71-9768-8f6113da2e1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caee19-00b5-48df-bf01-7741a1496c0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afaee0-0f14-4d71-9768-8f6113da2e1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126EC88-F0D5-4034-9295-84F68AACF8A7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B6A337BF-3B74-4C10-A8A9-3670BC4CF74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0489BE2-6494-4C27-84D8-34E0EA3FD6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6caee19-00b5-48df-bf01-7741a1496c06"/>
    <ds:schemaRef ds:uri="7dafaee0-0f14-4d71-9768-8f6113da2e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777</TotalTime>
  <Words>151</Words>
  <Application>Microsoft Office PowerPoint</Application>
  <PresentationFormat>Widescreen</PresentationFormat>
  <Paragraphs>1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 Narrow</vt:lpstr>
      <vt:lpstr>PTCRaleway</vt:lpstr>
      <vt:lpstr>PTCRaleway Black</vt:lpstr>
      <vt:lpstr>Wingdings</vt:lpstr>
      <vt:lpstr>Arial</vt:lpstr>
      <vt:lpstr>PTC PowerPoint Template</vt:lpstr>
      <vt:lpstr>think-cell Slide</vt:lpstr>
      <vt:lpstr>CREO AR DESIGN SHARE (NOW INCLUDED WITH CREO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eo Packaging  and Solution Capabilities</dc:title>
  <dc:creator>McCagg, Marty</dc:creator>
  <cp:lastModifiedBy>Vasilis Karastergios</cp:lastModifiedBy>
  <cp:revision>81</cp:revision>
  <dcterms:created xsi:type="dcterms:W3CDTF">2021-10-13T03:56:04Z</dcterms:created>
  <dcterms:modified xsi:type="dcterms:W3CDTF">2023-10-16T09:37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53CC3168B6C2D4D99959A344254B259</vt:lpwstr>
  </property>
</Properties>
</file>